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vsdx" ContentType="application/vnd.ms-visio.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5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7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8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charts/chart1.xml" ContentType="application/vnd.openxmlformats-officedocument.drawingml.chart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9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10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2" r:id="rId1"/>
    <p:sldMasterId id="2147483696" r:id="rId2"/>
  </p:sldMasterIdLst>
  <p:notesMasterIdLst>
    <p:notesMasterId r:id="rId30"/>
  </p:notesMasterIdLst>
  <p:handoutMasterIdLst>
    <p:handoutMasterId r:id="rId31"/>
  </p:handoutMasterIdLst>
  <p:sldIdLst>
    <p:sldId id="317" r:id="rId3"/>
    <p:sldId id="257" r:id="rId4"/>
    <p:sldId id="259" r:id="rId5"/>
    <p:sldId id="281" r:id="rId6"/>
    <p:sldId id="280" r:id="rId7"/>
    <p:sldId id="4194" r:id="rId8"/>
    <p:sldId id="279" r:id="rId9"/>
    <p:sldId id="285" r:id="rId10"/>
    <p:sldId id="288" r:id="rId11"/>
    <p:sldId id="4202" r:id="rId12"/>
    <p:sldId id="287" r:id="rId13"/>
    <p:sldId id="282" r:id="rId14"/>
    <p:sldId id="304" r:id="rId15"/>
    <p:sldId id="286" r:id="rId16"/>
    <p:sldId id="292" r:id="rId17"/>
    <p:sldId id="268" r:id="rId18"/>
    <p:sldId id="276" r:id="rId19"/>
    <p:sldId id="293" r:id="rId20"/>
    <p:sldId id="267" r:id="rId21"/>
    <p:sldId id="305" r:id="rId22"/>
    <p:sldId id="299" r:id="rId23"/>
    <p:sldId id="4200" r:id="rId24"/>
    <p:sldId id="4198" r:id="rId25"/>
    <p:sldId id="4196" r:id="rId26"/>
    <p:sldId id="4197" r:id="rId27"/>
    <p:sldId id="4199" r:id="rId28"/>
    <p:sldId id="4192" r:id="rId29"/>
  </p:sldIdLst>
  <p:sldSz cx="12192000" cy="6858000"/>
  <p:notesSz cx="7010400" cy="9296400"/>
  <p:custDataLst>
    <p:tags r:id="rId3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8A0A3AC-2F8C-4517-B799-AF0ED43BB970}" v="142" dt="2020-02-11T15:32:15.9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36" autoAdjust="0"/>
    <p:restoredTop sz="82712" autoAdjust="0"/>
  </p:normalViewPr>
  <p:slideViewPr>
    <p:cSldViewPr snapToGrid="0">
      <p:cViewPr varScale="1">
        <p:scale>
          <a:sx n="119" d="100"/>
          <a:sy n="119" d="100"/>
        </p:scale>
        <p:origin x="224" y="2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-345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34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ags" Target="tags/tag1.xml"/><Relationship Id="rId37" Type="http://schemas.microsoft.com/office/2015/10/relationships/revisionInfo" Target="revisionInfo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/C:\Users\uleck.kevin\AppData\Local\Temp\LCFEM\%7b593317F4-0F9B-4D8D-8854-0A95602C3944%7d\drag_spreadsheet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/>
              <a:t>Thrust Power, 67.5kft</a:t>
            </a:r>
          </a:p>
        </c:rich>
      </c:tx>
      <c:overlay val="0"/>
    </c:title>
    <c:autoTitleDeleted val="0"/>
    <c:plotArea>
      <c:layout/>
      <c:scatterChart>
        <c:scatterStyle val="smoothMarker"/>
        <c:varyColors val="0"/>
        <c:ser>
          <c:idx val="0"/>
          <c:order val="0"/>
          <c:tx>
            <c:strRef>
              <c:f>'Drag Buildup'!$J$79</c:f>
              <c:strCache>
                <c:ptCount val="1"/>
                <c:pt idx="0">
                  <c:v>Power (W)</c:v>
                </c:pt>
              </c:strCache>
            </c:strRef>
          </c:tx>
          <c:marker>
            <c:symbol val="none"/>
          </c:marker>
          <c:xVal>
            <c:numRef>
              <c:f>'Drag Buildup'!$D$85:$D$93</c:f>
              <c:numCache>
                <c:formatCode>General</c:formatCode>
                <c:ptCount val="9"/>
                <c:pt idx="0">
                  <c:v>0.6</c:v>
                </c:pt>
                <c:pt idx="1">
                  <c:v>0.7</c:v>
                </c:pt>
                <c:pt idx="2">
                  <c:v>0.79999999999999993</c:v>
                </c:pt>
                <c:pt idx="3">
                  <c:v>0.89999999999999991</c:v>
                </c:pt>
                <c:pt idx="4">
                  <c:v>0.99999999999999989</c:v>
                </c:pt>
                <c:pt idx="5">
                  <c:v>1.0999999999999999</c:v>
                </c:pt>
                <c:pt idx="6">
                  <c:v>1.2</c:v>
                </c:pt>
                <c:pt idx="7">
                  <c:v>1.3</c:v>
                </c:pt>
                <c:pt idx="8">
                  <c:v>1.4000000000000001</c:v>
                </c:pt>
              </c:numCache>
            </c:numRef>
          </c:xVal>
          <c:yVal>
            <c:numRef>
              <c:f>'Drag Buildup'!$J$85:$J$93</c:f>
              <c:numCache>
                <c:formatCode>0</c:formatCode>
                <c:ptCount val="9"/>
                <c:pt idx="0">
                  <c:v>7160.0422541445596</c:v>
                </c:pt>
                <c:pt idx="1">
                  <c:v>6138.4902536855652</c:v>
                </c:pt>
                <c:pt idx="2">
                  <c:v>5453.2141989297188</c:v>
                </c:pt>
                <c:pt idx="3">
                  <c:v>5016.6306074148306</c:v>
                </c:pt>
                <c:pt idx="4">
                  <c:v>4738.4494204241464</c:v>
                </c:pt>
                <c:pt idx="5">
                  <c:v>4608.1937462031119</c:v>
                </c:pt>
                <c:pt idx="6">
                  <c:v>4661.8952836618591</c:v>
                </c:pt>
                <c:pt idx="7">
                  <c:v>4926.5760661696359</c:v>
                </c:pt>
                <c:pt idx="8">
                  <c:v>4840.190583777061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B21C-4805-B3FF-0871B45AB1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2902272"/>
        <c:axId val="42904192"/>
      </c:scatterChart>
      <c:valAx>
        <c:axId val="42902272"/>
        <c:scaling>
          <c:orientation val="minMax"/>
          <c:min val="0.5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n-US" dirty="0"/>
                  <a:t>CL</a:t>
                </a:r>
              </a:p>
            </c:rich>
          </c:tx>
          <c:overlay val="0"/>
        </c:title>
        <c:numFmt formatCode="General" sourceLinked="1"/>
        <c:majorTickMark val="out"/>
        <c:minorTickMark val="none"/>
        <c:tickLblPos val="nextTo"/>
        <c:crossAx val="42904192"/>
        <c:crosses val="autoZero"/>
        <c:crossBetween val="midCat"/>
      </c:valAx>
      <c:valAx>
        <c:axId val="42904192"/>
        <c:scaling>
          <c:orientation val="minMax"/>
          <c:min val="4000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dirty="0"/>
                  <a:t>Watts</a:t>
                </a:r>
              </a:p>
            </c:rich>
          </c:tx>
          <c:overlay val="0"/>
        </c:title>
        <c:numFmt formatCode="0" sourceLinked="1"/>
        <c:majorTickMark val="out"/>
        <c:minorTickMark val="none"/>
        <c:tickLblPos val="nextTo"/>
        <c:crossAx val="42902272"/>
        <c:crosses val="autoZero"/>
        <c:crossBetween val="midCat"/>
      </c:valAx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image" Target="../media/image1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1A433C00-78F4-4097-8095-D77E642914AE}" type="datetimeFigureOut">
              <a:rPr lang="en-US" smtClean="0"/>
              <a:t>2/11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F52C498F-1EBC-4BAC-80F6-BF9D4CC3CF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93190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4A410B9F-C5C5-4F64-93A6-BE06FF8D981D}" type="datetimeFigureOut">
              <a:rPr lang="en-US" smtClean="0"/>
              <a:t>2/11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2B7B137E-7433-479F-AC76-D678868379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44039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7B137E-7433-479F-AC76-D678868379D5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09844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614AEB-E925-6944-8036-F73AB1A59D7E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202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7B137E-7433-479F-AC76-D678868379D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66554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7B137E-7433-479F-AC76-D678868379D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46902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7B137E-7433-479F-AC76-D678868379D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31888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7B137E-7433-479F-AC76-D678868379D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56634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n winter months (autumnal equinox to vernal equinox), flying south increases daylight.  However, in summer months (vernal equinox to autumnal equinox), moving North increases daylight.  A key takeaway is that airplane must be able to fly at least 11 hours on battery else it is a summer only airplane and might not even be able to cover equatorial regions!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7B137E-7433-479F-AC76-D678868379D5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0313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heck Alta cell spectral efficienc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7B137E-7433-479F-AC76-D678868379D5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61879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ook at variation of solar power over wing chord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7B137E-7433-479F-AC76-D678868379D5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78735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7B137E-7433-479F-AC76-D678868379D5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11754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3995A5BD-0C28-4503-AEB7-E1652EA5714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63084" y="3556345"/>
            <a:ext cx="10363200" cy="646782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</a:lstStyle>
          <a:p>
            <a:r>
              <a:rPr lang="en-US" dirty="0"/>
              <a:t>Briefing to Customer </a:t>
            </a:r>
          </a:p>
          <a:p>
            <a:r>
              <a:rPr lang="en-US" dirty="0"/>
              <a:t>XYZ Organization 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3A9D0F4-6717-44BF-8BC9-213B736D38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4400" y="4739582"/>
            <a:ext cx="10363200" cy="1212643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</a:lstStyle>
          <a:p>
            <a:r>
              <a:rPr lang="en-US" dirty="0"/>
              <a:t>Presenter Name </a:t>
            </a:r>
          </a:p>
          <a:p>
            <a:r>
              <a:rPr lang="en-US" dirty="0"/>
              <a:t>Presenter Title</a:t>
            </a:r>
          </a:p>
          <a:p>
            <a:r>
              <a:rPr lang="en-US" dirty="0"/>
              <a:t>Month, Year 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DF47E00-8BDF-4331-A054-C57923B074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63084" y="1329599"/>
            <a:ext cx="10656696" cy="897147"/>
          </a:xfrm>
        </p:spPr>
        <p:txBody>
          <a:bodyPr anchor="t">
            <a:normAutofit/>
          </a:bodyPr>
          <a:lstStyle>
            <a:lvl1pPr algn="l"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- PAV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92C41C8-E13E-43D4-99B0-F9AB7C9ED48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867D424-15CC-4B26-AE54-D42E949B40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74897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 anchor="b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3886200"/>
            <a:ext cx="9448800" cy="1752600"/>
          </a:xfrm>
        </p:spPr>
        <p:txBody>
          <a:bodyPr anchor="t">
            <a:noAutofit/>
          </a:bodyPr>
          <a:lstStyle>
            <a:lvl1pPr marL="0" indent="0" algn="l"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27057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366308"/>
            <a:ext cx="5384800" cy="499004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366308"/>
            <a:ext cx="5384800" cy="499004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63107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urora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14360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38955E7-E777-4605-9B8B-73A17C69CCB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7019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9F4098D-CC1F-47FC-86E2-F1FA296D060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63084" y="717124"/>
            <a:ext cx="10656696" cy="897147"/>
          </a:xfrm>
        </p:spPr>
        <p:txBody>
          <a:bodyPr anchor="t">
            <a:normAutofit/>
          </a:bodyPr>
          <a:lstStyle>
            <a:lvl1pPr algn="l"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 - PAV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9DDCBDD-B0E8-4A02-9AF5-16C854F7960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146" y="6229144"/>
            <a:ext cx="1064845" cy="492984"/>
          </a:xfrm>
          <a:prstGeom prst="rect">
            <a:avLst/>
          </a:prstGeom>
        </p:spPr>
      </p:pic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9784AF2-0B88-4F90-95F4-6237BA77C36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63084" y="3927281"/>
            <a:ext cx="10363200" cy="646782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riefing to Customer </a:t>
            </a:r>
            <a:br>
              <a:rPr lang="en-US" dirty="0"/>
            </a:br>
            <a:r>
              <a:rPr lang="en-US" dirty="0"/>
              <a:t>XYZ Organization 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88FC2892-F3DD-46A3-9B9D-0FA61C889CDF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4400" y="4739582"/>
            <a:ext cx="10363200" cy="1212643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er Name </a:t>
            </a:r>
            <a:br>
              <a:rPr lang="en-US" dirty="0"/>
            </a:br>
            <a:r>
              <a:rPr lang="en-US" dirty="0"/>
              <a:t>Presenter Title</a:t>
            </a:r>
            <a:br>
              <a:rPr lang="en-US" dirty="0"/>
            </a:br>
            <a:r>
              <a:rPr lang="en-US" dirty="0"/>
              <a:t>Month, Year </a:t>
            </a:r>
          </a:p>
        </p:txBody>
      </p:sp>
    </p:spTree>
    <p:extLst>
      <p:ext uri="{BB962C8B-B14F-4D97-AF65-F5344CB8AC3E}">
        <p14:creationId xmlns:p14="http://schemas.microsoft.com/office/powerpoint/2010/main" val="19626836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DB5A5E2-8B58-4CD0-A4EE-9C722DFA512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70192"/>
          </a:xfrm>
          <a:prstGeom prst="rect">
            <a:avLst/>
          </a:prstGeom>
        </p:spPr>
      </p:pic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25DDFE6-D273-4C1A-A608-A48F13B90FF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63084" y="3935907"/>
            <a:ext cx="10363200" cy="646782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riefing to Customer </a:t>
            </a:r>
            <a:br>
              <a:rPr lang="en-US" dirty="0"/>
            </a:br>
            <a:r>
              <a:rPr lang="en-US" dirty="0"/>
              <a:t>XYZ Organization 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0F166BFE-53C8-496F-AC30-0BC96812572E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4400" y="4739582"/>
            <a:ext cx="10363200" cy="1212643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er Name </a:t>
            </a:r>
            <a:br>
              <a:rPr lang="en-US" dirty="0"/>
            </a:br>
            <a:r>
              <a:rPr lang="en-US" dirty="0"/>
              <a:t>Presenter Title</a:t>
            </a:r>
            <a:br>
              <a:rPr lang="en-US" dirty="0"/>
            </a:br>
            <a:r>
              <a:rPr lang="en-US" dirty="0"/>
              <a:t>Month, Year 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5D71F92-3566-4923-90F1-4C1E5CB4EF4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63084" y="743003"/>
            <a:ext cx="10656696" cy="897147"/>
          </a:xfrm>
        </p:spPr>
        <p:txBody>
          <a:bodyPr anchor="t">
            <a:normAutofit/>
          </a:bodyPr>
          <a:lstStyle>
            <a:lvl1pPr algn="l"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 - Odysseu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BB3E1CD-88B8-4201-BCDB-73FEC8D77BA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146" y="6229144"/>
            <a:ext cx="1064845" cy="492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27995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AB6718C-A2A4-457F-978C-376A1A522F0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6096"/>
            <a:ext cx="12192000" cy="6870192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FA59D505-ED7F-40C6-9649-36454ECCADA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63084" y="941411"/>
            <a:ext cx="10656696" cy="897147"/>
          </a:xfrm>
        </p:spPr>
        <p:txBody>
          <a:bodyPr anchor="t">
            <a:normAutofit/>
          </a:bodyPr>
          <a:lstStyle>
            <a:lvl1pPr algn="l"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 - Centaur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3F2482BC-1D0A-42FE-9C31-BEFA720239E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63084" y="3953160"/>
            <a:ext cx="10363200" cy="646782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riefing to Customer </a:t>
            </a:r>
            <a:br>
              <a:rPr lang="en-US" dirty="0"/>
            </a:br>
            <a:r>
              <a:rPr lang="en-US" dirty="0"/>
              <a:t>XYZ Organization 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BF39847D-8378-4CA8-8167-686E10B5E013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4400" y="4739582"/>
            <a:ext cx="10363200" cy="1212643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er Name </a:t>
            </a:r>
            <a:br>
              <a:rPr lang="en-US" dirty="0"/>
            </a:br>
            <a:r>
              <a:rPr lang="en-US" dirty="0"/>
              <a:t>Presenter Title</a:t>
            </a:r>
            <a:br>
              <a:rPr lang="en-US" dirty="0"/>
            </a:br>
            <a:r>
              <a:rPr lang="en-US" dirty="0"/>
              <a:t>Month, Yea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9B1E300-4D45-464D-B8AC-F238122C1BC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146" y="6229144"/>
            <a:ext cx="1064845" cy="492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27219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A158BDB-E07E-4441-8611-DB15567B92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0216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5" imgW="423" imgH="424" progId="TCLayout.ActiveDocument.1">
                  <p:embed/>
                </p:oleObj>
              </mc:Choice>
              <mc:Fallback>
                <p:oleObj name="think-cell Slide" r:id="rId5" imgW="423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A158BDB-E07E-4441-8611-DB15567B92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14D2388-FF2D-4A60-B957-7D5868FA7E8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B3BC69-7B69-4B54-B1F3-6FD5C58822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54291"/>
            <a:ext cx="10515600" cy="51233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30C61F-85C9-44DE-AA41-E4789DEA8BA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D5DB61-D8D7-4409-9540-6365C3E0D2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7D424-15CC-4B26-AE54-D42E949B40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63354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7893588-FD35-42A8-9CA8-BB49208F27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1499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5" imgW="423" imgH="424" progId="TCLayout.ActiveDocument.1">
                  <p:embed/>
                </p:oleObj>
              </mc:Choice>
              <mc:Fallback>
                <p:oleObj name="think-cell Slide" r:id="rId5" imgW="423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7893588-FD35-42A8-9CA8-BB49208F27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CA680EE-EE86-40A6-84EF-EE1BB6A932D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FD82E5-DABD-4371-B42D-2F840C4D95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98875"/>
            <a:ext cx="10515600" cy="55850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4D319EF-088D-47AD-A954-62BB045696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7D424-15CC-4B26-AE54-D42E949B40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9094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D6805F-18AD-4080-B494-14FF71BCA6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17CFE9F-E0C7-472E-BBDB-F9BB6058294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0B0DC38-9968-45A6-B97E-7F3373411E1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5EA0819-DD7E-41C8-8B66-0D7371777B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7D424-15CC-4B26-AE54-D42E949B40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10145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CC6209-B09A-41FE-970B-1165D0E748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7D424-15CC-4B26-AE54-D42E949B4036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533A537C-078D-4BF3-9104-B2B7A56CC2B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169863" y="268136"/>
            <a:ext cx="11852275" cy="5847991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13895495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CC6209-B09A-41FE-970B-1165D0E748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270E0F-E37E-4D12-88E6-0B263BA0AB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00644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4.vml"/><Relationship Id="rId7" Type="http://schemas.openxmlformats.org/officeDocument/2006/relationships/image" Target="../media/image7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008AC0-9214-42B3-A25F-87056C3AF9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731959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6" imgW="423" imgH="424" progId="TCLayout.ActiveDocument.1">
                  <p:embed/>
                </p:oleObj>
              </mc:Choice>
              <mc:Fallback>
                <p:oleObj name="think-cell Slide" r:id="rId16" imgW="423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008AC0-9214-42B3-A25F-87056C3AF9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AD2783D-487D-4806-9023-DFB094953C90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4D8FF6C-E11E-4B5A-B6F9-7D5BF4EBBC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54291"/>
            <a:ext cx="10515600" cy="49385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41E054-8D0D-4AF1-A7AD-A5741FF767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296178-6878-43AE-8691-E6E81C8379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6648" y="6356350"/>
            <a:ext cx="40687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25D66A4-1C5A-4C43-9E0F-8FFFD84EDA57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E96CA28-EFB6-4F98-8888-B961DF683A7C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17026" y="6229144"/>
            <a:ext cx="1064847" cy="492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176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3" r:id="rId10"/>
    <p:sldLayoutId id="2147483694" r:id="rId11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rgbClr val="0033A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DE45BEC-2A33-4369-A803-31DE5C3231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56191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5" imgW="423" imgH="424" progId="TCLayout.ActiveDocument.1">
                  <p:embed/>
                </p:oleObj>
              </mc:Choice>
              <mc:Fallback>
                <p:oleObj name="think-cell Slide" r:id="rId5" imgW="423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DE45BEC-2A33-4369-A803-31DE5C3231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7D981518-FF0B-436F-BDF6-3C2756C4D76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5991" y="1958197"/>
            <a:ext cx="7480018" cy="2795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48536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emf"/><Relationship Id="rId3" Type="http://schemas.openxmlformats.org/officeDocument/2006/relationships/tags" Target="../tags/tag27.xml"/><Relationship Id="rId7" Type="http://schemas.openxmlformats.org/officeDocument/2006/relationships/package" Target="../embeddings/Microsoft_Visio_Drawing.vsdx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tags" Target="../tags/tag29.xml"/><Relationship Id="rId7" Type="http://schemas.openxmlformats.org/officeDocument/2006/relationships/image" Target="../media/image26.jpeg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28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emf"/><Relationship Id="rId3" Type="http://schemas.openxmlformats.org/officeDocument/2006/relationships/tags" Target="../tags/tag33.xml"/><Relationship Id="rId7" Type="http://schemas.openxmlformats.org/officeDocument/2006/relationships/image" Target="../media/image1.emf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3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31.jpeg"/><Relationship Id="rId2" Type="http://schemas.openxmlformats.org/officeDocument/2006/relationships/tags" Target="../tags/tag3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32.png"/><Relationship Id="rId2" Type="http://schemas.openxmlformats.org/officeDocument/2006/relationships/tags" Target="../tags/tag3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gif"/><Relationship Id="rId3" Type="http://schemas.openxmlformats.org/officeDocument/2006/relationships/tags" Target="../tags/tag39.xml"/><Relationship Id="rId7" Type="http://schemas.openxmlformats.org/officeDocument/2006/relationships/chart" Target="../charts/chart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34.png"/><Relationship Id="rId2" Type="http://schemas.openxmlformats.org/officeDocument/2006/relationships/tags" Target="../tags/tag4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eg"/><Relationship Id="rId3" Type="http://schemas.openxmlformats.org/officeDocument/2006/relationships/tags" Target="../tags/tag43.xml"/><Relationship Id="rId7" Type="http://schemas.openxmlformats.org/officeDocument/2006/relationships/image" Target="../media/image1.emf"/><Relationship Id="rId2" Type="http://schemas.openxmlformats.org/officeDocument/2006/relationships/tags" Target="../tags/tag42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36.jpe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38.jpeg"/><Relationship Id="rId2" Type="http://schemas.openxmlformats.org/officeDocument/2006/relationships/tags" Target="../tags/tag4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Relationship Id="rId9" Type="http://schemas.openxmlformats.org/officeDocument/2006/relationships/image" Target="../media/image40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10.jpeg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image" Target="../media/image41.emf"/><Relationship Id="rId2" Type="http://schemas.openxmlformats.org/officeDocument/2006/relationships/tags" Target="../tags/tag4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6.bin"/><Relationship Id="rId4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1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42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7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43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8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3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44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9.bin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hyperlink" Target="https://engineering.fb.com/connectivity/open-sourcing-facebooks-solar-powered-aircraft-design-tools/" TargetMode="External"/><Relationship Id="rId3" Type="http://schemas.openxmlformats.org/officeDocument/2006/relationships/slideLayout" Target="../slideLayouts/slideLayout5.xml"/><Relationship Id="rId7" Type="http://schemas.openxmlformats.org/officeDocument/2006/relationships/hyperlink" Target="https://www.researchgate.net/publication/336455359_Review_of_Power_Device_for_Solar-Powered_Aircraft_Applications" TargetMode="External"/><Relationship Id="rId2" Type="http://schemas.openxmlformats.org/officeDocument/2006/relationships/tags" Target="../tags/tag54.xml"/><Relationship Id="rId1" Type="http://schemas.openxmlformats.org/officeDocument/2006/relationships/vmlDrawing" Target="../drawings/vmlDrawing30.vml"/><Relationship Id="rId6" Type="http://schemas.openxmlformats.org/officeDocument/2006/relationships/hyperlink" Target="https://www.researchgate.net/publication/228843407_Fly_Around_the_World_with_a_Solar_Powered_Airplane" TargetMode="External"/><Relationship Id="rId11" Type="http://schemas.openxmlformats.org/officeDocument/2006/relationships/hyperlink" Target="https://arc.aiaa.org/doi/10.2514/1.C034405" TargetMode="External"/><Relationship Id="rId5" Type="http://schemas.openxmlformats.org/officeDocument/2006/relationships/image" Target="../media/image15.emf"/><Relationship Id="rId10" Type="http://schemas.openxmlformats.org/officeDocument/2006/relationships/hyperlink" Target="https://research.fb.com/publications/hale-multidisciplinary-design-optimization-part-ii-solar-powered-flying-wing-aircraft/" TargetMode="External"/><Relationship Id="rId4" Type="http://schemas.openxmlformats.org/officeDocument/2006/relationships/oleObject" Target="../embeddings/oleObject30.bin"/><Relationship Id="rId9" Type="http://schemas.openxmlformats.org/officeDocument/2006/relationships/hyperlink" Target="https://research.fb.com/publications/hale-multidisciplinary-design-optimization-part-i-solar-powered-single-and-multiple-boom-aircraft/" TargetMode="Externa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14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20.xml"/><Relationship Id="rId7" Type="http://schemas.openxmlformats.org/officeDocument/2006/relationships/image" Target="../media/image15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18.emf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22.xml"/><Relationship Id="rId7" Type="http://schemas.openxmlformats.org/officeDocument/2006/relationships/image" Target="../media/image1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en.wikipedia.org/wiki/Shockley-Queisser_limit" TargetMode="External"/><Relationship Id="rId3" Type="http://schemas.openxmlformats.org/officeDocument/2006/relationships/tags" Target="../tags/tag24.xml"/><Relationship Id="rId7" Type="http://schemas.openxmlformats.org/officeDocument/2006/relationships/image" Target="../media/image20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11" Type="http://schemas.openxmlformats.org/officeDocument/2006/relationships/image" Target="../media/image23.png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22.jpeg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7E4DD68-1F8A-4CA1-97CA-4851396A5B7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5488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6" imgW="423" imgH="424" progId="TCLayout.ActiveDocument.1">
                  <p:embed/>
                </p:oleObj>
              </mc:Choice>
              <mc:Fallback>
                <p:oleObj name="think-cell Slide" r:id="rId6" imgW="423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7E4DD68-1F8A-4CA1-97CA-4851396A5B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E12D7A-1581-497B-8C14-FFFB59B436F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ersistent Solar Powered Airplanes: Closing the </a:t>
            </a:r>
            <a:r>
              <a:rPr lang="en-US"/>
              <a:t>Energy Cyc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Dr. Kevin R. Uleck</a:t>
            </a:r>
          </a:p>
          <a:p>
            <a:r>
              <a:rPr lang="en-US" dirty="0"/>
              <a:t>11 February 2020</a:t>
            </a:r>
          </a:p>
          <a:p>
            <a:r>
              <a:rPr lang="en-US" dirty="0"/>
              <a:t>Uleck.kevin@aurora.aero</a:t>
            </a:r>
          </a:p>
        </p:txBody>
      </p:sp>
    </p:spTree>
    <p:extLst>
      <p:ext uri="{BB962C8B-B14F-4D97-AF65-F5344CB8AC3E}">
        <p14:creationId xmlns:p14="http://schemas.microsoft.com/office/powerpoint/2010/main" val="35201620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D9E5D41-40F9-4FAE-A3BD-F1D891BC937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61341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D9E5D41-40F9-4FAE-A3BD-F1D891BC93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9" name="Rectangle 188" hidden="1">
            <a:extLst>
              <a:ext uri="{FF2B5EF4-FFF2-40B4-BE49-F238E27FC236}">
                <a16:creationId xmlns:a16="http://schemas.microsoft.com/office/drawing/2014/main" id="{AEB7BB11-538C-427D-A6DF-041E8D13584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9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3939CB-5EDE-4551-9F36-6B3A66C6CB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From cell efficiency to useable pow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CCB653-3A48-41CB-B23B-353A308BA8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40114" y="5194189"/>
            <a:ext cx="8711771" cy="400653"/>
          </a:xfr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dirty="0"/>
              <a:t>Final installed solar conversion efficiency is affected by many facto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C52785-7298-4DED-82F7-9495091EC2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7D424-15CC-4B26-AE54-D42E949B4036}" type="slidenum">
              <a:rPr lang="en-US" smtClean="0"/>
              <a:t>10</a:t>
            </a:fld>
            <a:endParaRPr lang="en-US"/>
          </a:p>
        </p:txBody>
      </p:sp>
      <p:graphicFrame>
        <p:nvGraphicFramePr>
          <p:cNvPr id="188" name="Object 187">
            <a:extLst>
              <a:ext uri="{FF2B5EF4-FFF2-40B4-BE49-F238E27FC236}">
                <a16:creationId xmlns:a16="http://schemas.microsoft.com/office/drawing/2014/main" id="{07B610DB-9343-4053-8674-9AFC48396D9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81875548"/>
              </p:ext>
            </p:extLst>
          </p:nvPr>
        </p:nvGraphicFramePr>
        <p:xfrm>
          <a:off x="-104058" y="402350"/>
          <a:ext cx="14267005" cy="42132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1" name="Visio" r:id="rId7" imgW="15194351" imgH="4480466" progId="Visio.Drawing.15">
                  <p:embed/>
                </p:oleObj>
              </mc:Choice>
              <mc:Fallback>
                <p:oleObj name="Visio" r:id="rId7" imgW="15194351" imgH="4480466" progId="Visio.Drawing.15">
                  <p:embed/>
                  <p:pic>
                    <p:nvPicPr>
                      <p:cNvPr id="188" name="Object 187">
                        <a:extLst>
                          <a:ext uri="{FF2B5EF4-FFF2-40B4-BE49-F238E27FC236}">
                            <a16:creationId xmlns:a16="http://schemas.microsoft.com/office/drawing/2014/main" id="{07B610DB-9343-4053-8674-9AFC48396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-104058" y="402350"/>
                        <a:ext cx="14267005" cy="42132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157234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4C89B28-63A6-4033-82A7-6BFD9D081E5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6222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Slide" r:id="rId5" imgW="423" imgH="424" progId="TCLayout.ActiveDocument.1">
                  <p:embed/>
                </p:oleObj>
              </mc:Choice>
              <mc:Fallback>
                <p:oleObj name="think-cell Slide" r:id="rId5" imgW="423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4C89B28-63A6-4033-82A7-6BFD9D081E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EF5C95D-7E6A-48FC-BA2A-4DE44058F3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9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Energy In: Solar Panel Are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599" y="925690"/>
            <a:ext cx="11072327" cy="2630310"/>
          </a:xfrm>
        </p:spPr>
        <p:txBody>
          <a:bodyPr>
            <a:normAutofit fontScale="85000" lnSpcReduction="20000"/>
          </a:bodyPr>
          <a:lstStyle/>
          <a:p>
            <a:r>
              <a:rPr lang="en-US" dirty="0"/>
              <a:t>Power collected is proportional to solar array size, more array = more energy!?</a:t>
            </a:r>
          </a:p>
          <a:p>
            <a:r>
              <a:rPr lang="en-US" dirty="0"/>
              <a:t>Factors to consider for aircraft application of solar array</a:t>
            </a:r>
          </a:p>
          <a:p>
            <a:pPr lvl="1"/>
            <a:r>
              <a:rPr lang="en-US" dirty="0"/>
              <a:t>Power/Weight: different solar cell technologies offer range of weight / area for different price, efficiency, and durability</a:t>
            </a:r>
          </a:p>
          <a:p>
            <a:pPr lvl="1"/>
            <a:r>
              <a:rPr lang="en-US" dirty="0"/>
              <a:t>Area available: wings and surfaces might need to be increased beyond aerodynamically required size</a:t>
            </a:r>
          </a:p>
          <a:p>
            <a:pPr lvl="1"/>
            <a:r>
              <a:rPr lang="en-US" dirty="0"/>
              <a:t>Orientation: Aerodynamically shaped surfaces offer different compromises to sun tracking </a:t>
            </a:r>
            <a:r>
              <a:rPr lang="en-US" dirty="0">
                <a:sym typeface="Wingdings" panose="05000000000000000000" pitchFamily="2" charset="2"/>
              </a:rPr>
              <a:t> collection factor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Flexibility  Durability and formability</a:t>
            </a:r>
            <a:endParaRPr lang="en-US" dirty="0"/>
          </a:p>
        </p:txBody>
      </p:sp>
      <p:pic>
        <p:nvPicPr>
          <p:cNvPr id="7170" name="Picture 2" descr="Image result for solar airplane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58" b="17250"/>
          <a:stretch/>
        </p:blipFill>
        <p:spPr bwMode="auto">
          <a:xfrm>
            <a:off x="609599" y="3368729"/>
            <a:ext cx="6222389" cy="2702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4" name="Picture 6" descr="Image result for solar airplane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625"/>
          <a:stretch/>
        </p:blipFill>
        <p:spPr bwMode="auto">
          <a:xfrm>
            <a:off x="6852213" y="3368729"/>
            <a:ext cx="4608734" cy="2702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2679866" y="6117289"/>
            <a:ext cx="13997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SolarImpulse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8854633" y="6117289"/>
            <a:ext cx="7617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Helios</a:t>
            </a:r>
          </a:p>
        </p:txBody>
      </p:sp>
    </p:spTree>
    <p:extLst>
      <p:ext uri="{BB962C8B-B14F-4D97-AF65-F5344CB8AC3E}">
        <p14:creationId xmlns:p14="http://schemas.microsoft.com/office/powerpoint/2010/main" val="37215128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73D3948-C253-4A7B-A484-CCA5923AF22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04644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Slide" r:id="rId5" imgW="423" imgH="424" progId="TCLayout.ActiveDocument.1">
                  <p:embed/>
                </p:oleObj>
              </mc:Choice>
              <mc:Fallback>
                <p:oleObj name="think-cell Slide" r:id="rId5" imgW="423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73D3948-C253-4A7B-A484-CCA5923AF2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66EE008-F242-4F01-BD6F-AF0E98DB963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9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Energy In: Incident Flux Collection Facto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111318"/>
            <a:ext cx="4715753" cy="5122088"/>
          </a:xfrm>
        </p:spPr>
        <p:txBody>
          <a:bodyPr>
            <a:normAutofit fontScale="92500"/>
          </a:bodyPr>
          <a:lstStyle/>
          <a:p>
            <a:r>
              <a:rPr lang="en-US" dirty="0"/>
              <a:t>Angle between sun vector and solar panel surface normal </a:t>
            </a:r>
            <a:r>
              <a:rPr lang="en-US" dirty="0">
                <a:sym typeface="Wingdings" panose="05000000000000000000" pitchFamily="2" charset="2"/>
              </a:rPr>
              <a:t>determines incident power (cosine losses)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Sun vector normal to panel  100% power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Sun vector parallel to panel  0% power</a:t>
            </a:r>
          </a:p>
          <a:p>
            <a:r>
              <a:rPr lang="en-US" dirty="0">
                <a:sym typeface="Wingdings" panose="05000000000000000000" pitchFamily="2" charset="2"/>
              </a:rPr>
              <a:t>Additional losses at low solar incidence angles due to surface reflection</a:t>
            </a:r>
          </a:p>
          <a:p>
            <a:r>
              <a:rPr lang="en-US" dirty="0"/>
              <a:t>Angle depends on sun elevation, and aircraft attitude</a:t>
            </a:r>
          </a:p>
          <a:p>
            <a:pPr lvl="1"/>
            <a:r>
              <a:rPr lang="en-US" dirty="0"/>
              <a:t>Changes throughout the day and with vehicle heading</a:t>
            </a:r>
          </a:p>
        </p:txBody>
      </p:sp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5353" y="817935"/>
            <a:ext cx="6866647" cy="5122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242043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66FB4C-B56B-43B6-8B9F-5370C49E91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171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think-cell Slide" r:id="rId6" imgW="423" imgH="424" progId="TCLayout.ActiveDocument.1">
                  <p:embed/>
                </p:oleObj>
              </mc:Choice>
              <mc:Fallback>
                <p:oleObj name="think-cell Slide" r:id="rId6" imgW="423" imgH="42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66FB4C-B56B-43B6-8B9F-5370C49E91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71EDF6E-611C-4673-A48B-D1C2748AF9C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9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Energy In: Collection Factor (2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052448"/>
            <a:ext cx="10515600" cy="4351338"/>
          </a:xfrm>
        </p:spPr>
        <p:txBody>
          <a:bodyPr/>
          <a:lstStyle/>
          <a:p>
            <a:r>
              <a:rPr lang="en-US" dirty="0"/>
              <a:t>Aircraft geometry affects relative solar incidence angle, and surface shadowing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542" y="2029459"/>
            <a:ext cx="5826436" cy="4367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11" t="14580" r="52062" b="13054"/>
          <a:stretch/>
        </p:blipFill>
        <p:spPr bwMode="auto">
          <a:xfrm>
            <a:off x="6326978" y="1328484"/>
            <a:ext cx="5364480" cy="48711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250095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4479A51-C77C-4420-B300-23D57B18CEF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4096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5" name="think-cell Slide" r:id="rId5" imgW="423" imgH="424" progId="TCLayout.ActiveDocument.1">
                  <p:embed/>
                </p:oleObj>
              </mc:Choice>
              <mc:Fallback>
                <p:oleObj name="think-cell Slide" r:id="rId5" imgW="423" imgH="42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4479A51-C77C-4420-B300-23D57B18CE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B9BBE2B-DE1B-4BE7-AEAC-35AABD90AFA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9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Energy In: Solar Cell Power Point Track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111318"/>
            <a:ext cx="5535168" cy="4438582"/>
          </a:xfrm>
        </p:spPr>
        <p:txBody>
          <a:bodyPr>
            <a:normAutofit/>
          </a:bodyPr>
          <a:lstStyle/>
          <a:p>
            <a:r>
              <a:rPr lang="en-US" dirty="0"/>
              <a:t>Solar cell can be operated at any voltage from full short up to junction voltage (V</a:t>
            </a:r>
            <a:r>
              <a:rPr lang="en-US" baseline="-25000" dirty="0"/>
              <a:t>OC</a:t>
            </a:r>
            <a:r>
              <a:rPr lang="en-US" dirty="0"/>
              <a:t>)</a:t>
            </a:r>
          </a:p>
          <a:p>
            <a:r>
              <a:rPr lang="en-US" dirty="0"/>
              <a:t>Power output is product of current * voltage</a:t>
            </a:r>
          </a:p>
          <a:p>
            <a:r>
              <a:rPr lang="en-US" dirty="0"/>
              <a:t>Circuit voltage regulation required to operate solar cell at </a:t>
            </a:r>
            <a:r>
              <a:rPr lang="en-US" i="1" dirty="0"/>
              <a:t>peak power point </a:t>
            </a:r>
            <a:r>
              <a:rPr lang="en-US" dirty="0"/>
              <a:t>to obtain maximum output</a:t>
            </a:r>
          </a:p>
          <a:p>
            <a:pPr lvl="1"/>
            <a:r>
              <a:rPr lang="en-US" dirty="0"/>
              <a:t>Typically achieved through </a:t>
            </a:r>
            <a:r>
              <a:rPr lang="en-US" i="1" dirty="0"/>
              <a:t>Maximum Peak Power Point </a:t>
            </a:r>
            <a:r>
              <a:rPr lang="en-US" dirty="0"/>
              <a:t>trackers, essentially DC-DC converters setting circuit voltage</a:t>
            </a:r>
          </a:p>
        </p:txBody>
      </p:sp>
      <p:pic>
        <p:nvPicPr>
          <p:cNvPr id="4" name="Picture 2" descr="Related image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0785" y="1196730"/>
            <a:ext cx="5667375" cy="3295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7123773-4865-42C2-836F-C65425056EDD}"/>
              </a:ext>
            </a:extLst>
          </p:cNvPr>
          <p:cNvSpPr txBox="1"/>
          <p:nvPr/>
        </p:nvSpPr>
        <p:spPr>
          <a:xfrm>
            <a:off x="649385" y="5635312"/>
            <a:ext cx="10990766" cy="461665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sz="2400" dirty="0"/>
              <a:t>Achieving maximum efficiency requires dynamic matching of load to solar array output</a:t>
            </a:r>
          </a:p>
        </p:txBody>
      </p:sp>
    </p:spTree>
    <p:extLst>
      <p:ext uri="{BB962C8B-B14F-4D97-AF65-F5344CB8AC3E}">
        <p14:creationId xmlns:p14="http://schemas.microsoft.com/office/powerpoint/2010/main" val="38145899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70045E1-6281-4D63-AB50-9DCF6F3E22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47791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think-cell Slide" r:id="rId5" imgW="423" imgH="424" progId="TCLayout.ActiveDocument.1">
                  <p:embed/>
                </p:oleObj>
              </mc:Choice>
              <mc:Fallback>
                <p:oleObj name="think-cell Slide" r:id="rId5" imgW="423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70045E1-6281-4D63-AB50-9DCF6F3E22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69A9D3E-8455-4FEF-9855-3054D4C180F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9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Energy Required: Daily Energy Breakdow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111318"/>
            <a:ext cx="4572000" cy="5122088"/>
          </a:xfrm>
        </p:spPr>
        <p:txBody>
          <a:bodyPr/>
          <a:lstStyle/>
          <a:p>
            <a:pPr fontAlgn="ctr"/>
            <a:r>
              <a:rPr lang="en-US" dirty="0"/>
              <a:t>Question to answer: How much energy is needed to fly for 24 hours?</a:t>
            </a:r>
          </a:p>
          <a:p>
            <a:pPr lvl="1" fontAlgn="ctr"/>
            <a:r>
              <a:rPr lang="en-US" dirty="0"/>
              <a:t>Majority of energy goes to propulsion</a:t>
            </a:r>
          </a:p>
          <a:p>
            <a:pPr lvl="1" fontAlgn="ctr"/>
            <a:r>
              <a:rPr lang="en-US" dirty="0"/>
              <a:t>Propulsion Energy = Power * Time = Thrust*Velocity * 24 hours</a:t>
            </a:r>
          </a:p>
          <a:p>
            <a:pPr lvl="1" fontAlgn="ctr"/>
            <a:endParaRPr lang="en-US" dirty="0"/>
          </a:p>
          <a:p>
            <a:pPr lvl="1" fontAlgn="ctr"/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7"/>
          <a:srcRect l="31166" t="3743" r="14208" b="1480"/>
          <a:stretch/>
        </p:blipFill>
        <p:spPr>
          <a:xfrm>
            <a:off x="5181600" y="1354238"/>
            <a:ext cx="6400800" cy="3634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7407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A0EADF5-80F3-4BCC-BC1F-0A0D35026C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9485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" name="think-cell Slide" r:id="rId5" imgW="423" imgH="424" progId="TCLayout.ActiveDocument.1">
                  <p:embed/>
                </p:oleObj>
              </mc:Choice>
              <mc:Fallback>
                <p:oleObj name="think-cell Slide" r:id="rId5" imgW="423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A0EADF5-80F3-4BCC-BC1F-0A0D35026C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9CC3ECD-9D87-49A8-B3BF-F965DADEAF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9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Propulsion Power Required = Thrust X Airspee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49126" y="914399"/>
            <a:ext cx="6041984" cy="5139159"/>
          </a:xfrm>
        </p:spPr>
        <p:txBody>
          <a:bodyPr>
            <a:normAutofit fontScale="92500"/>
          </a:bodyPr>
          <a:lstStyle/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n-US" sz="2800" dirty="0"/>
              <a:t>For steady level flight, Thrust = Drag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2800" i="1" dirty="0"/>
              <a:t>Drag</a:t>
            </a:r>
            <a:r>
              <a:rPr lang="en-US" sz="2800" dirty="0"/>
              <a:t> = Weight/(L/D)</a:t>
            </a:r>
          </a:p>
          <a:p>
            <a:pPr lvl="1">
              <a:lnSpc>
                <a:spcPct val="100000"/>
              </a:lnSpc>
              <a:spcBef>
                <a:spcPts val="600"/>
              </a:spcBef>
            </a:pPr>
            <a:r>
              <a:rPr lang="en-US" sz="2600" dirty="0"/>
              <a:t>L/D = Lift-to-Drag ratio, measure of aerodynamic efficiency.</a:t>
            </a:r>
          </a:p>
          <a:p>
            <a:pPr lvl="2">
              <a:spcBef>
                <a:spcPts val="600"/>
              </a:spcBef>
            </a:pPr>
            <a:r>
              <a:rPr lang="en-US" sz="2200" dirty="0"/>
              <a:t>Determined by aerodynamic profile and operating condition</a:t>
            </a:r>
          </a:p>
          <a:p>
            <a:pPr lvl="2">
              <a:spcBef>
                <a:spcPts val="600"/>
              </a:spcBef>
            </a:pPr>
            <a:r>
              <a:rPr lang="en-US" sz="2200" dirty="0"/>
              <a:t>Minimum power airspeed</a:t>
            </a:r>
          </a:p>
          <a:p>
            <a:pPr lvl="1">
              <a:spcBef>
                <a:spcPts val="600"/>
              </a:spcBef>
            </a:pPr>
            <a:r>
              <a:rPr lang="en-US" sz="2600" dirty="0"/>
              <a:t>Drag is proportional to </a:t>
            </a:r>
            <a:r>
              <a:rPr lang="en-US" sz="2600" u="sng" dirty="0"/>
              <a:t>Weight</a:t>
            </a:r>
          </a:p>
          <a:p>
            <a:pPr lvl="1">
              <a:spcBef>
                <a:spcPts val="600"/>
              </a:spcBef>
            </a:pPr>
            <a:r>
              <a:rPr lang="en-US" sz="2600" dirty="0"/>
              <a:t>Drag is proportional to </a:t>
            </a:r>
            <a:r>
              <a:rPr lang="en-US" sz="2600" u="sng" dirty="0"/>
              <a:t>Airspeed</a:t>
            </a:r>
            <a:r>
              <a:rPr lang="en-US" sz="2600" u="sng" baseline="30000" dirty="0"/>
              <a:t>2</a:t>
            </a:r>
            <a:endParaRPr lang="en-US" sz="2600" u="sng" dirty="0"/>
          </a:p>
          <a:p>
            <a:pPr>
              <a:spcBef>
                <a:spcPts val="600"/>
              </a:spcBef>
            </a:pPr>
            <a:r>
              <a:rPr lang="en-US" sz="2800" dirty="0"/>
              <a:t>Thrust Power = Thrust * Airspeed</a:t>
            </a:r>
          </a:p>
          <a:p>
            <a:pPr lvl="1">
              <a:spcBef>
                <a:spcPts val="600"/>
              </a:spcBef>
            </a:pPr>
            <a:r>
              <a:rPr lang="en-US" sz="2600" dirty="0"/>
              <a:t>Power required is proportional to airspeed </a:t>
            </a:r>
            <a:r>
              <a:rPr lang="en-US" sz="2600" u="sng" dirty="0"/>
              <a:t>cubed</a:t>
            </a:r>
          </a:p>
          <a:p>
            <a:pPr lvl="1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2600" dirty="0"/>
              <a:t>To minimize power required, </a:t>
            </a:r>
            <a:r>
              <a:rPr lang="en-US" sz="2600" u="sng" dirty="0"/>
              <a:t>fly slow</a:t>
            </a:r>
            <a:r>
              <a:rPr lang="en-US" sz="2600" dirty="0"/>
              <a:t>!</a:t>
            </a:r>
          </a:p>
          <a:p>
            <a:pPr lvl="2">
              <a:spcBef>
                <a:spcPts val="600"/>
              </a:spcBef>
            </a:pPr>
            <a:endParaRPr lang="en-US" sz="2200" dirty="0"/>
          </a:p>
        </p:txBody>
      </p:sp>
      <p:graphicFrame>
        <p:nvGraphicFramePr>
          <p:cNvPr id="24" name="Chart 2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50963410"/>
              </p:ext>
            </p:extLst>
          </p:nvPr>
        </p:nvGraphicFramePr>
        <p:xfrm>
          <a:off x="7292052" y="2674385"/>
          <a:ext cx="4210128" cy="31538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6" name="TextBox 25"/>
          <p:cNvSpPr txBox="1"/>
          <p:nvPr/>
        </p:nvSpPr>
        <p:spPr>
          <a:xfrm>
            <a:off x="9526691" y="4319998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prstClr val="black"/>
                </a:solidFill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Op Point</a:t>
            </a:r>
          </a:p>
        </p:txBody>
      </p:sp>
      <p:pic>
        <p:nvPicPr>
          <p:cNvPr id="12290" name="Picture 2" descr="Related image"/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1485" y="464585"/>
            <a:ext cx="4219575" cy="2209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0" name="Straight Connector 19"/>
          <p:cNvCxnSpPr/>
          <p:nvPr/>
        </p:nvCxnSpPr>
        <p:spPr>
          <a:xfrm flipV="1">
            <a:off x="9811273" y="4861539"/>
            <a:ext cx="513184" cy="9331"/>
          </a:xfrm>
          <a:prstGeom prst="line">
            <a:avLst/>
          </a:prstGeom>
          <a:ln w="63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10067865" y="4746733"/>
            <a:ext cx="0" cy="247650"/>
          </a:xfrm>
          <a:prstGeom prst="line">
            <a:avLst/>
          </a:prstGeom>
          <a:ln w="63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5565DC42-B0C4-4BA1-8FC9-4667CD8A7860}"/>
              </a:ext>
            </a:extLst>
          </p:cNvPr>
          <p:cNvSpPr txBox="1"/>
          <p:nvPr/>
        </p:nvSpPr>
        <p:spPr>
          <a:xfrm>
            <a:off x="8293965" y="5700981"/>
            <a:ext cx="2815322" cy="369332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b="1" dirty="0"/>
              <a:t>Odysseus cruises on 6.5 </a:t>
            </a:r>
            <a:r>
              <a:rPr lang="en-US" b="1" dirty="0" err="1"/>
              <a:t>hp</a:t>
            </a:r>
            <a:r>
              <a:rPr lang="en-US" b="1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18198717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7229FD6-433E-444A-87E2-AE578AC7C3A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5079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7" name="think-cell Slide" r:id="rId5" imgW="423" imgH="424" progId="TCLayout.ActiveDocument.1">
                  <p:embed/>
                </p:oleObj>
              </mc:Choice>
              <mc:Fallback>
                <p:oleObj name="think-cell Slide" r:id="rId5" imgW="423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7229FD6-433E-444A-87E2-AE578AC7C3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1F3A8F4-B891-4CC1-8E04-9A991723C69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9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How slow can we fly? Must stay on station against winds!</a:t>
            </a:r>
          </a:p>
        </p:txBody>
      </p:sp>
      <p:sp>
        <p:nvSpPr>
          <p:cNvPr id="8" name="Rectangle 7"/>
          <p:cNvSpPr/>
          <p:nvPr/>
        </p:nvSpPr>
        <p:spPr>
          <a:xfrm>
            <a:off x="838201" y="6177776"/>
            <a:ext cx="108371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i="1" dirty="0">
                <a:solidFill>
                  <a:srgbClr val="4F81BD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99th Percentile wind speeds (m/s) at 50 mbar pressure level (approximately 67,500 ft)</a:t>
            </a: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EAFA5385-E990-401C-AF3A-A7A1F5B6293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82" t="7784" r="9397" b="13213"/>
          <a:stretch/>
        </p:blipFill>
        <p:spPr bwMode="auto">
          <a:xfrm>
            <a:off x="659905" y="647042"/>
            <a:ext cx="10928712" cy="56044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79563FF-D940-46B8-96DC-8A4BB6B4E5F6}"/>
              </a:ext>
            </a:extLst>
          </p:cNvPr>
          <p:cNvSpPr txBox="1"/>
          <p:nvPr/>
        </p:nvSpPr>
        <p:spPr>
          <a:xfrm>
            <a:off x="6746033" y="606490"/>
            <a:ext cx="434728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ata Source: NOAA NCEP/NCAR Reanalysis 1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096267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141A894-8777-4641-AB93-72A264474C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7685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1" name="think-cell Slide" r:id="rId6" imgW="423" imgH="424" progId="TCLayout.ActiveDocument.1">
                  <p:embed/>
                </p:oleObj>
              </mc:Choice>
              <mc:Fallback>
                <p:oleObj name="think-cell Slide" r:id="rId6" imgW="423" imgH="42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141A894-8777-4641-AB93-72A264474C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4247FFED-5B52-437F-B741-403CD915796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9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Energy Required: Night and Da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4416" y="925432"/>
            <a:ext cx="7015750" cy="173549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Two power system modes:</a:t>
            </a:r>
          </a:p>
          <a:p>
            <a:r>
              <a:rPr lang="en-US" dirty="0"/>
              <a:t>Daytime: Solar array power &gt; required power</a:t>
            </a:r>
          </a:p>
          <a:p>
            <a:pPr lvl="1"/>
            <a:r>
              <a:rPr lang="en-US" dirty="0"/>
              <a:t>Array power </a:t>
            </a:r>
            <a:r>
              <a:rPr lang="en-US" dirty="0">
                <a:sym typeface="Wingdings" panose="05000000000000000000" pitchFamily="2" charset="2"/>
              </a:rPr>
              <a:t> propulsion motors, avionics, &amp; charge battery</a:t>
            </a:r>
          </a:p>
          <a:p>
            <a:pPr lvl="1"/>
            <a:endParaRPr lang="en-US" dirty="0"/>
          </a:p>
          <a:p>
            <a:pPr lvl="2"/>
            <a:endParaRPr lang="en-US" dirty="0"/>
          </a:p>
        </p:txBody>
      </p:sp>
      <p:pic>
        <p:nvPicPr>
          <p:cNvPr id="4" name="Picture 2" descr="Image result for gasoline energy density">
            <a:extLst>
              <a:ext uri="{FF2B5EF4-FFF2-40B4-BE49-F238E27FC236}">
                <a16:creationId xmlns:a16="http://schemas.microsoft.com/office/drawing/2014/main" id="{2295BBAF-9617-42A5-BFCF-83FF33F9A7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8" y="74139"/>
            <a:ext cx="4772302" cy="3414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A31D35E7-C447-4536-9D7A-D62182C831A4}"/>
              </a:ext>
            </a:extLst>
          </p:cNvPr>
          <p:cNvSpPr txBox="1">
            <a:spLocks/>
          </p:cNvSpPr>
          <p:nvPr/>
        </p:nvSpPr>
        <p:spPr>
          <a:xfrm>
            <a:off x="292100" y="2475038"/>
            <a:ext cx="6882882" cy="411237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 fontScale="85000" lnSpcReduction="20000"/>
          </a:bodyPr>
          <a:lstStyle>
            <a:lvl1pPr marL="342900" indent="-342900" algn="l" defTabSz="457200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Char char="•"/>
              <a:defRPr sz="28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Nighttime: All required power from onboard batteries</a:t>
            </a:r>
          </a:p>
          <a:p>
            <a:pPr lvl="1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Required battery capacity = </a:t>
            </a:r>
            <a:r>
              <a:rPr lang="en-US" b="1" dirty="0">
                <a:solidFill>
                  <a:schemeClr val="tx1"/>
                </a:solidFill>
                <a:sym typeface="Wingdings" panose="05000000000000000000" pitchFamily="2" charset="2"/>
              </a:rPr>
              <a:t>Power required * length of night</a:t>
            </a:r>
          </a:p>
          <a:p>
            <a:pPr lvl="2"/>
            <a:r>
              <a:rPr lang="en-US" i="1" dirty="0">
                <a:solidFill>
                  <a:schemeClr val="tx1"/>
                </a:solidFill>
                <a:sym typeface="Wingdings" panose="05000000000000000000" pitchFamily="2" charset="2"/>
              </a:rPr>
              <a:t>Sets required battery size &amp; mass</a:t>
            </a:r>
          </a:p>
          <a:p>
            <a:pPr lvl="1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Typical battery energy storage density ranges from </a:t>
            </a:r>
            <a:r>
              <a:rPr lang="en-US" b="1" dirty="0">
                <a:solidFill>
                  <a:schemeClr val="tx1"/>
                </a:solidFill>
                <a:sym typeface="Wingdings" panose="05000000000000000000" pitchFamily="2" charset="2"/>
              </a:rPr>
              <a:t>50</a:t>
            </a:r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  <a:r>
              <a:rPr lang="en-US" dirty="0" err="1">
                <a:solidFill>
                  <a:schemeClr val="tx1"/>
                </a:solidFill>
                <a:sym typeface="Wingdings" panose="05000000000000000000" pitchFamily="2" charset="2"/>
              </a:rPr>
              <a:t>Wh</a:t>
            </a:r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/kg for lead-acid to </a:t>
            </a:r>
            <a:r>
              <a:rPr lang="en-US" b="1" dirty="0">
                <a:solidFill>
                  <a:schemeClr val="tx1"/>
                </a:solidFill>
                <a:sym typeface="Wingdings" panose="05000000000000000000" pitchFamily="2" charset="2"/>
              </a:rPr>
              <a:t>400</a:t>
            </a:r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  <a:r>
              <a:rPr lang="en-US" dirty="0" err="1">
                <a:solidFill>
                  <a:schemeClr val="tx1"/>
                </a:solidFill>
                <a:sym typeface="Wingdings" panose="05000000000000000000" pitchFamily="2" charset="2"/>
              </a:rPr>
              <a:t>Wh</a:t>
            </a:r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/kg for emerging technology lithium battery types</a:t>
            </a:r>
          </a:p>
          <a:p>
            <a:pPr lvl="2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Gasoline and diesel ~</a:t>
            </a:r>
            <a:r>
              <a:rPr lang="en-US" b="1" dirty="0">
                <a:solidFill>
                  <a:schemeClr val="tx1"/>
                </a:solidFill>
                <a:sym typeface="Wingdings" panose="05000000000000000000" pitchFamily="2" charset="2"/>
              </a:rPr>
              <a:t>4,000</a:t>
            </a:r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  <a:r>
              <a:rPr lang="en-US" dirty="0" err="1">
                <a:solidFill>
                  <a:schemeClr val="tx1"/>
                </a:solidFill>
                <a:sym typeface="Wingdings" panose="05000000000000000000" pitchFamily="2" charset="2"/>
              </a:rPr>
              <a:t>Wh</a:t>
            </a:r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/kg usable (</a:t>
            </a:r>
            <a:r>
              <a:rPr lang="en-US" b="1" dirty="0">
                <a:solidFill>
                  <a:schemeClr val="tx1"/>
                </a:solidFill>
                <a:sym typeface="Wingdings" panose="05000000000000000000" pitchFamily="2" charset="2"/>
              </a:rPr>
              <a:t>1</a:t>
            </a:r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2,000 </a:t>
            </a:r>
            <a:r>
              <a:rPr lang="en-US" dirty="0" err="1">
                <a:solidFill>
                  <a:schemeClr val="tx1"/>
                </a:solidFill>
                <a:sym typeface="Wingdings" panose="05000000000000000000" pitchFamily="2" charset="2"/>
              </a:rPr>
              <a:t>Wh</a:t>
            </a:r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/kg X 33% </a:t>
            </a:r>
            <a:r>
              <a:rPr lang="el-GR" dirty="0">
                <a:solidFill>
                  <a:schemeClr val="tx1"/>
                </a:solidFill>
                <a:sym typeface="Wingdings" panose="05000000000000000000" pitchFamily="2" charset="2"/>
              </a:rPr>
              <a:t>η</a:t>
            </a:r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)  </a:t>
            </a:r>
            <a:r>
              <a:rPr lang="en-US" b="1" dirty="0">
                <a:solidFill>
                  <a:schemeClr val="tx1"/>
                </a:solidFill>
                <a:sym typeface="Wingdings" panose="05000000000000000000" pitchFamily="2" charset="2"/>
              </a:rPr>
              <a:t>&gt;10x </a:t>
            </a:r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the best batteries available today!!</a:t>
            </a:r>
          </a:p>
          <a:p>
            <a:pPr lvl="1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Battery energy storage has </a:t>
            </a:r>
            <a:r>
              <a:rPr lang="en-US" b="1" dirty="0">
                <a:solidFill>
                  <a:schemeClr val="tx1"/>
                </a:solidFill>
                <a:sym typeface="Wingdings" panose="05000000000000000000" pitchFamily="2" charset="2"/>
              </a:rPr>
              <a:t>loss</a:t>
            </a:r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 – energy recovered ~90-95% of energy input</a:t>
            </a:r>
          </a:p>
          <a:p>
            <a:pPr lvl="1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Must account for </a:t>
            </a:r>
            <a:r>
              <a:rPr lang="en-US" b="1" dirty="0">
                <a:solidFill>
                  <a:schemeClr val="tx1"/>
                </a:solidFill>
                <a:sym typeface="Wingdings" panose="05000000000000000000" pitchFamily="2" charset="2"/>
              </a:rPr>
              <a:t>battery packaging</a:t>
            </a:r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, typically 15-25% of cell mass</a:t>
            </a:r>
          </a:p>
          <a:p>
            <a:pPr lvl="1"/>
            <a:endParaRPr lang="en-US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 lvl="1"/>
            <a:endParaRPr lang="en-US" dirty="0">
              <a:solidFill>
                <a:schemeClr val="tx1"/>
              </a:solidFill>
            </a:endParaRPr>
          </a:p>
          <a:p>
            <a:pPr lvl="2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2" descr="Image result for battery energy density">
            <a:extLst>
              <a:ext uri="{FF2B5EF4-FFF2-40B4-BE49-F238E27FC236}">
                <a16:creationId xmlns:a16="http://schemas.microsoft.com/office/drawing/2014/main" id="{F3A530F0-8950-4AAE-8E69-AD8BD6D76E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8005" y="3289301"/>
            <a:ext cx="4964802" cy="3298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tar: 5 Points 6">
            <a:extLst>
              <a:ext uri="{FF2B5EF4-FFF2-40B4-BE49-F238E27FC236}">
                <a16:creationId xmlns:a16="http://schemas.microsoft.com/office/drawing/2014/main" id="{0444EA59-2B3C-4A3C-933E-E971732447DA}"/>
              </a:ext>
            </a:extLst>
          </p:cNvPr>
          <p:cNvSpPr/>
          <p:nvPr/>
        </p:nvSpPr>
        <p:spPr>
          <a:xfrm>
            <a:off x="8547100" y="4326480"/>
            <a:ext cx="308610" cy="342900"/>
          </a:xfrm>
          <a:prstGeom prst="star5">
            <a:avLst/>
          </a:prstGeom>
          <a:solidFill>
            <a:srgbClr val="FFFF0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29048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2A7B1C4-9CFB-4EC4-9571-504C9E70DD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1287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5" name="think-cell Slide" r:id="rId4" imgW="423" imgH="424" progId="TCLayout.ActiveDocument.1">
                  <p:embed/>
                </p:oleObj>
              </mc:Choice>
              <mc:Fallback>
                <p:oleObj name="think-cell Slide" r:id="rId4" imgW="423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2A7B1C4-9CFB-4EC4-9571-504C9E70DD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Mas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586272" y="4942057"/>
            <a:ext cx="11019453" cy="1509006"/>
          </a:xfrm>
        </p:spPr>
        <p:txBody>
          <a:bodyPr>
            <a:normAutofit fontScale="92500" lnSpcReduction="10000"/>
          </a:bodyPr>
          <a:lstStyle/>
          <a:p>
            <a:r>
              <a:rPr lang="en-US" dirty="0">
                <a:solidFill>
                  <a:prstClr val="black">
                    <a:lumMod val="85000"/>
                    <a:lumOff val="15000"/>
                  </a:prstClr>
                </a:solidFill>
              </a:rPr>
              <a:t>Wing loading ~1 </a:t>
            </a:r>
            <a:r>
              <a:rPr lang="en-US" dirty="0" err="1">
                <a:solidFill>
                  <a:prstClr val="black">
                    <a:lumMod val="85000"/>
                    <a:lumOff val="15000"/>
                  </a:prstClr>
                </a:solidFill>
              </a:rPr>
              <a:t>psf</a:t>
            </a:r>
            <a:r>
              <a:rPr lang="en-US" dirty="0">
                <a:solidFill>
                  <a:prstClr val="black">
                    <a:lumMod val="85000"/>
                    <a:lumOff val="15000"/>
                  </a:prstClr>
                </a:solidFill>
              </a:rPr>
              <a:t> </a:t>
            </a:r>
            <a:r>
              <a:rPr lang="en-US" dirty="0">
                <a:solidFill>
                  <a:prstClr val="black">
                    <a:lumMod val="85000"/>
                    <a:lumOff val="15000"/>
                  </a:prstClr>
                </a:solidFill>
                <a:sym typeface="Wingdings" panose="05000000000000000000" pitchFamily="2" charset="2"/>
              </a:rPr>
              <a:t> very light structures &amp; systems!</a:t>
            </a:r>
            <a:endParaRPr lang="en-US" dirty="0">
              <a:solidFill>
                <a:prstClr val="black">
                  <a:lumMod val="85000"/>
                  <a:lumOff val="15000"/>
                </a:prstClr>
              </a:solidFill>
            </a:endParaRPr>
          </a:p>
          <a:p>
            <a:r>
              <a:rPr lang="en-US" dirty="0">
                <a:solidFill>
                  <a:prstClr val="black">
                    <a:lumMod val="85000"/>
                    <a:lumOff val="15000"/>
                  </a:prstClr>
                </a:solidFill>
              </a:rPr>
              <a:t>Energy storage accounts for 42% total mass in Odysseus. Location and distribution of this mass drives structure</a:t>
            </a:r>
          </a:p>
          <a:p>
            <a:r>
              <a:rPr lang="en-US" dirty="0">
                <a:solidFill>
                  <a:prstClr val="black">
                    <a:lumMod val="85000"/>
                    <a:lumOff val="15000"/>
                  </a:prstClr>
                </a:solidFill>
              </a:rPr>
              <a:t>3.8% payload fraction!</a:t>
            </a:r>
          </a:p>
          <a:p>
            <a:endParaRPr lang="en-US" dirty="0"/>
          </a:p>
        </p:txBody>
      </p:sp>
      <p:sp>
        <p:nvSpPr>
          <p:cNvPr id="10" name="Content Placeholder 2"/>
          <p:cNvSpPr txBox="1">
            <a:spLocks/>
          </p:cNvSpPr>
          <p:nvPr/>
        </p:nvSpPr>
        <p:spPr>
          <a:xfrm>
            <a:off x="7010400" y="777241"/>
            <a:ext cx="3352800" cy="135636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 marL="342900" indent="-342900" algn="l" defTabSz="457200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Char char="•"/>
              <a:defRPr sz="28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None/>
            </a:pPr>
            <a:endParaRPr lang="en-US" sz="2000" dirty="0"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9" t="11215" r="25707" b="7951"/>
          <a:stretch/>
        </p:blipFill>
        <p:spPr bwMode="auto">
          <a:xfrm>
            <a:off x="3862873" y="254291"/>
            <a:ext cx="4148966" cy="36230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6" name="Picture 2" descr="Image result for solar airplane structures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8669" y="144134"/>
            <a:ext cx="2716996" cy="1642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9189051" y="1831346"/>
            <a:ext cx="272106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Ultra-Lightweight Structures &amp; Components!!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994277" y="2855099"/>
            <a:ext cx="2915843" cy="180296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EB3D3C1-04FA-46A7-9154-070C70B398BC}"/>
              </a:ext>
            </a:extLst>
          </p:cNvPr>
          <p:cNvSpPr txBox="1"/>
          <p:nvPr/>
        </p:nvSpPr>
        <p:spPr>
          <a:xfrm>
            <a:off x="4090418" y="3872035"/>
            <a:ext cx="401116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/>
              <a:t>Odysseus baseline mass distribution</a:t>
            </a:r>
          </a:p>
          <a:p>
            <a:pPr algn="ctr"/>
            <a:r>
              <a:rPr lang="en-US" sz="1400" dirty="0"/>
              <a:t>Aurora proprietary information – not for distribu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A2325FE-62EE-44CE-BA9F-F8BDC7519A3F}"/>
              </a:ext>
            </a:extLst>
          </p:cNvPr>
          <p:cNvSpPr txBox="1"/>
          <p:nvPr/>
        </p:nvSpPr>
        <p:spPr>
          <a:xfrm>
            <a:off x="600295" y="1133645"/>
            <a:ext cx="3490123" cy="40011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sz="2000" i="1" dirty="0"/>
              <a:t>Everything must be lightweight!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D7C71846-3211-467B-B8CB-938EE857D9DD}"/>
              </a:ext>
            </a:extLst>
          </p:cNvPr>
          <p:cNvGrpSpPr/>
          <p:nvPr/>
        </p:nvGrpSpPr>
        <p:grpSpPr>
          <a:xfrm>
            <a:off x="518937" y="2056398"/>
            <a:ext cx="3652838" cy="2774562"/>
            <a:chOff x="518937" y="2056398"/>
            <a:chExt cx="3652838" cy="2774562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DB29ABCF-6D5B-447C-9305-99494409CE0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18937" y="2056398"/>
              <a:ext cx="3652838" cy="2543175"/>
            </a:xfrm>
            <a:prstGeom prst="rect">
              <a:avLst/>
            </a:prstGeom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405ADEAD-C5A5-44D4-B245-96B96F7991A0}"/>
                </a:ext>
              </a:extLst>
            </p:cNvPr>
            <p:cNvSpPr txBox="1"/>
            <p:nvPr/>
          </p:nvSpPr>
          <p:spPr>
            <a:xfrm>
              <a:off x="1390261" y="4461628"/>
              <a:ext cx="120077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From Ref 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24196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554DEB6-11DB-4D10-9921-A63AEB7F1F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5382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6" imgW="423" imgH="424" progId="TCLayout.ActiveDocument.1">
                  <p:embed/>
                </p:oleObj>
              </mc:Choice>
              <mc:Fallback>
                <p:oleObj name="think-cell Slide" r:id="rId6" imgW="423" imgH="42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554DEB6-11DB-4D10-9921-A63AEB7F1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5737661-5798-4A6E-A813-07120B683DA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5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76343"/>
            <a:ext cx="10515600" cy="493857"/>
          </a:xfrm>
        </p:spPr>
        <p:txBody>
          <a:bodyPr>
            <a:normAutofit fontScale="90000"/>
          </a:bodyPr>
          <a:lstStyle/>
          <a:p>
            <a:r>
              <a:rPr lang="en-US" dirty="0"/>
              <a:t>Kevin R. Uleck, PhD</a:t>
            </a:r>
            <a:br>
              <a:rPr lang="en-US" dirty="0"/>
            </a:br>
            <a:r>
              <a:rPr lang="en-US" sz="2800" dirty="0"/>
              <a:t>Program Manager, Odysseus Solar UAV, </a:t>
            </a:r>
            <a:br>
              <a:rPr lang="en-US" sz="2800" dirty="0"/>
            </a:br>
            <a:r>
              <a:rPr lang="en-US" sz="2800" dirty="0"/>
              <a:t>Aurora Flight Sciences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>
          <a:xfrm>
            <a:off x="128338" y="1241512"/>
            <a:ext cx="5192404" cy="4799322"/>
          </a:xfrm>
        </p:spPr>
        <p:txBody>
          <a:bodyPr>
            <a:normAutofit fontScale="77500" lnSpcReduction="20000"/>
          </a:bodyPr>
          <a:lstStyle/>
          <a:p>
            <a:r>
              <a:rPr lang="en-US" dirty="0"/>
              <a:t>UAV Experience:</a:t>
            </a:r>
          </a:p>
          <a:p>
            <a:pPr marL="0" indent="0" algn="ctr">
              <a:buNone/>
            </a:pPr>
            <a:r>
              <a:rPr lang="en-US" sz="2600" i="1" dirty="0"/>
              <a:t>Concept Study through Program of Record</a:t>
            </a:r>
          </a:p>
          <a:p>
            <a:pPr lvl="1"/>
            <a:r>
              <a:rPr lang="en-US" dirty="0"/>
              <a:t>Aurora Flight Sciences (Since 2002)</a:t>
            </a:r>
          </a:p>
          <a:p>
            <a:pPr lvl="2"/>
            <a:r>
              <a:rPr lang="en-US" dirty="0"/>
              <a:t>Perseus-B</a:t>
            </a:r>
          </a:p>
          <a:p>
            <a:pPr lvl="2"/>
            <a:r>
              <a:rPr lang="en-US" dirty="0"/>
              <a:t>CUAV / GoldenEye-100</a:t>
            </a:r>
          </a:p>
          <a:p>
            <a:pPr lvl="2"/>
            <a:r>
              <a:rPr lang="en-US" dirty="0"/>
              <a:t>GoldenEye-50</a:t>
            </a:r>
          </a:p>
          <a:p>
            <a:pPr lvl="2"/>
            <a:r>
              <a:rPr lang="en-US" dirty="0"/>
              <a:t>OAV-II / GoldenEye-80</a:t>
            </a:r>
          </a:p>
          <a:p>
            <a:pPr lvl="2"/>
            <a:r>
              <a:rPr lang="en-US" dirty="0"/>
              <a:t>Excalibur</a:t>
            </a:r>
          </a:p>
          <a:p>
            <a:pPr lvl="2"/>
            <a:r>
              <a:rPr lang="en-US" dirty="0"/>
              <a:t>Vulture: </a:t>
            </a:r>
          </a:p>
          <a:p>
            <a:pPr lvl="2"/>
            <a:r>
              <a:rPr lang="en-US" dirty="0" err="1"/>
              <a:t>RapidEye</a:t>
            </a:r>
            <a:endParaRPr lang="en-US" dirty="0"/>
          </a:p>
          <a:p>
            <a:pPr lvl="2"/>
            <a:r>
              <a:rPr lang="en-US" dirty="0"/>
              <a:t>High altitude airship (LM sub)</a:t>
            </a:r>
          </a:p>
          <a:p>
            <a:pPr lvl="2"/>
            <a:r>
              <a:rPr lang="en-US" dirty="0"/>
              <a:t>Solar UAV (PM, present)</a:t>
            </a:r>
          </a:p>
          <a:p>
            <a:pPr lvl="1"/>
            <a:r>
              <a:rPr lang="en-US" dirty="0"/>
              <a:t>Raytheon</a:t>
            </a:r>
          </a:p>
          <a:p>
            <a:pPr lvl="2"/>
            <a:r>
              <a:rPr lang="en-US" dirty="0" err="1"/>
              <a:t>KillerBee</a:t>
            </a:r>
            <a:endParaRPr lang="en-US" dirty="0"/>
          </a:p>
          <a:p>
            <a:pPr lvl="1"/>
            <a:r>
              <a:rPr lang="en-US" dirty="0"/>
              <a:t>AAI / Textron</a:t>
            </a:r>
          </a:p>
          <a:p>
            <a:pPr lvl="2"/>
            <a:r>
              <a:rPr lang="en-US" dirty="0"/>
              <a:t>Shadow 200 (RQ-7B)</a:t>
            </a:r>
          </a:p>
          <a:p>
            <a:pPr lvl="2"/>
            <a:r>
              <a:rPr lang="en-US" dirty="0"/>
              <a:t>Shadow M2</a:t>
            </a:r>
          </a:p>
          <a:p>
            <a:pPr lvl="2"/>
            <a:r>
              <a:rPr lang="en-US" dirty="0" err="1"/>
              <a:t>Aerosonde</a:t>
            </a:r>
            <a:endParaRPr lang="en-US" dirty="0"/>
          </a:p>
          <a:p>
            <a:pPr lvl="1"/>
            <a:endParaRPr lang="en-US" dirty="0"/>
          </a:p>
        </p:txBody>
      </p:sp>
      <p:sp>
        <p:nvSpPr>
          <p:cNvPr id="6" name="Content Placeholder 4"/>
          <p:cNvSpPr txBox="1">
            <a:spLocks/>
          </p:cNvSpPr>
          <p:nvPr/>
        </p:nvSpPr>
        <p:spPr>
          <a:xfrm>
            <a:off x="5207434" y="1241512"/>
            <a:ext cx="4271103" cy="291210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Education:</a:t>
            </a:r>
          </a:p>
          <a:p>
            <a:pPr lvl="1"/>
            <a:r>
              <a:rPr lang="en-US" sz="2000" dirty="0"/>
              <a:t>BS, MS, PhD @ U. Maryland</a:t>
            </a:r>
          </a:p>
          <a:p>
            <a:pPr lvl="2"/>
            <a:r>
              <a:rPr lang="en-US" sz="1600" dirty="0"/>
              <a:t>Composite structures</a:t>
            </a:r>
          </a:p>
          <a:p>
            <a:pPr lvl="2"/>
            <a:r>
              <a:rPr lang="en-US" sz="1600" dirty="0"/>
              <a:t>Aerodynamics, helicopters</a:t>
            </a:r>
          </a:p>
          <a:p>
            <a:pPr lvl="2"/>
            <a:r>
              <a:rPr lang="en-US" sz="1600" dirty="0"/>
              <a:t>UAV lab co-founder</a:t>
            </a:r>
          </a:p>
          <a:p>
            <a:r>
              <a:rPr lang="en-US" sz="2400" dirty="0"/>
              <a:t>Outside the office:</a:t>
            </a:r>
          </a:p>
          <a:p>
            <a:pPr lvl="1"/>
            <a:r>
              <a:rPr lang="en-US" sz="2000" dirty="0"/>
              <a:t>Musician – lots of performing</a:t>
            </a:r>
          </a:p>
          <a:p>
            <a:pPr lvl="1"/>
            <a:r>
              <a:rPr lang="en-US" sz="2000" dirty="0"/>
              <a:t>Runner, cyclist</a:t>
            </a:r>
          </a:p>
          <a:p>
            <a:pPr lvl="1"/>
            <a:r>
              <a:rPr lang="en-US" sz="2000" dirty="0"/>
              <a:t>Dad to 3 great kids!</a:t>
            </a:r>
          </a:p>
          <a:p>
            <a:pPr lvl="1"/>
            <a:endParaRPr lang="en-US" sz="2000" dirty="0"/>
          </a:p>
          <a:p>
            <a:pPr lvl="1"/>
            <a:endParaRPr lang="en-US" sz="2000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8">
            <a:lum/>
            <a:alphaModFix/>
          </a:blip>
          <a:srcRect l="15156" t="14951" r="20214" b="29909"/>
          <a:stretch>
            <a:fillRect/>
          </a:stretch>
        </p:blipFill>
        <p:spPr>
          <a:xfrm>
            <a:off x="10386327" y="943154"/>
            <a:ext cx="1576709" cy="1752451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9">
            <a:lum/>
            <a:alphaModFix/>
          </a:blip>
          <a:srcRect/>
          <a:stretch>
            <a:fillRect/>
          </a:stretch>
        </p:blipFill>
        <p:spPr>
          <a:xfrm>
            <a:off x="9061606" y="2826625"/>
            <a:ext cx="2921917" cy="1746028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B4663B1-65C0-4119-B342-98AF5A8752A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113483" y="4703673"/>
            <a:ext cx="6918960" cy="2004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613475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F9F3F0B-2054-4EC3-A137-3712573732F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7072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9" name="think-cell Slide" r:id="rId5" imgW="423" imgH="424" progId="TCLayout.ActiveDocument.1">
                  <p:embed/>
                </p:oleObj>
              </mc:Choice>
              <mc:Fallback>
                <p:oleObj name="think-cell Slide" r:id="rId5" imgW="423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F9F3F0B-2054-4EC3-A137-3712573732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CAE70E7-0C0C-4482-A12E-620DF223266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9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Energy Balance- Example</a:t>
            </a:r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2477" y="841951"/>
            <a:ext cx="7731752" cy="5498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C4473CB-D26C-434E-8FFA-6BB18CB07C3E}"/>
              </a:ext>
            </a:extLst>
          </p:cNvPr>
          <p:cNvSpPr txBox="1"/>
          <p:nvPr/>
        </p:nvSpPr>
        <p:spPr>
          <a:xfrm>
            <a:off x="454306" y="3267853"/>
            <a:ext cx="169817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limb-and-glide energy storage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F1507C5B-96BD-4A35-80E2-6F0C91B4AA9B}"/>
              </a:ext>
            </a:extLst>
          </p:cNvPr>
          <p:cNvCxnSpPr>
            <a:stCxn id="6" idx="3"/>
          </p:cNvCxnSpPr>
          <p:nvPr/>
        </p:nvCxnSpPr>
        <p:spPr>
          <a:xfrm flipV="1">
            <a:off x="2152477" y="2761861"/>
            <a:ext cx="2456845" cy="8291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3566C3DF-99B5-4BA6-BE6B-1CC280219596}"/>
              </a:ext>
            </a:extLst>
          </p:cNvPr>
          <p:cNvCxnSpPr>
            <a:stCxn id="4" idx="1"/>
          </p:cNvCxnSpPr>
          <p:nvPr/>
        </p:nvCxnSpPr>
        <p:spPr>
          <a:xfrm>
            <a:off x="2152477" y="3591019"/>
            <a:ext cx="2456845" cy="98098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453861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88EACBF-629E-4312-8D35-B82CEB7A98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80343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3" name="think-cell Slide" r:id="rId5" imgW="423" imgH="424" progId="TCLayout.ActiveDocument.1">
                  <p:embed/>
                </p:oleObj>
              </mc:Choice>
              <mc:Fallback>
                <p:oleObj name="think-cell Slide" r:id="rId5" imgW="423" imgH="42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88EACBF-629E-4312-8D35-B82CEB7A98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BBA8EC1-D6D5-44EC-AA37-A9900D48CDA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9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Energy Cycle: Putting it togeth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253331"/>
            <a:ext cx="10515600" cy="4351338"/>
          </a:xfrm>
        </p:spPr>
        <p:txBody>
          <a:bodyPr/>
          <a:lstStyle/>
          <a:p>
            <a:r>
              <a:rPr lang="en-US" dirty="0"/>
              <a:t>Key mission parameters: Latitude and Day of Year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Sun angle &amp; length of night both function of latitude and DOY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dirty="0">
                <a:sym typeface="Wingdings" panose="05000000000000000000" pitchFamily="2" charset="2"/>
              </a:rPr>
              <a:t>Drives energy available and energy storage requirement</a:t>
            </a:r>
          </a:p>
          <a:p>
            <a:r>
              <a:rPr lang="en-US" dirty="0">
                <a:sym typeface="Wingdings" panose="05000000000000000000" pitchFamily="2" charset="2"/>
              </a:rPr>
              <a:t>Key Aircraft parameters: Weight, L/D, Flight speed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Drives energy needed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6474934"/>
              </p:ext>
            </p:extLst>
          </p:nvPr>
        </p:nvGraphicFramePr>
        <p:xfrm>
          <a:off x="2652529" y="3782731"/>
          <a:ext cx="6886940" cy="16075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57063">
                  <a:extLst>
                    <a:ext uri="{9D8B030D-6E8A-4147-A177-3AD203B41FA5}">
                      <a16:colId xmlns:a16="http://schemas.microsoft.com/office/drawing/2014/main" val="151448616"/>
                    </a:ext>
                  </a:extLst>
                </a:gridCol>
                <a:gridCol w="1186407">
                  <a:extLst>
                    <a:ext uri="{9D8B030D-6E8A-4147-A177-3AD203B41FA5}">
                      <a16:colId xmlns:a16="http://schemas.microsoft.com/office/drawing/2014/main" val="3512454283"/>
                    </a:ext>
                  </a:extLst>
                </a:gridCol>
                <a:gridCol w="1721735">
                  <a:extLst>
                    <a:ext uri="{9D8B030D-6E8A-4147-A177-3AD203B41FA5}">
                      <a16:colId xmlns:a16="http://schemas.microsoft.com/office/drawing/2014/main" val="3328582505"/>
                    </a:ext>
                  </a:extLst>
                </a:gridCol>
                <a:gridCol w="1721735">
                  <a:extLst>
                    <a:ext uri="{9D8B030D-6E8A-4147-A177-3AD203B41FA5}">
                      <a16:colId xmlns:a16="http://schemas.microsoft.com/office/drawing/2014/main" val="3357244447"/>
                    </a:ext>
                  </a:extLst>
                </a:gridCol>
              </a:tblGrid>
              <a:tr h="519867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Day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Hours of Night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E Collected (kWh)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E Storage Required (kWh)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83677707"/>
                  </a:ext>
                </a:extLst>
              </a:tr>
              <a:tr h="346578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Winter Solstice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14.2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154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85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148206639"/>
                  </a:ext>
                </a:extLst>
              </a:tr>
              <a:tr h="189043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Equinox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11.8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191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70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377040652"/>
                  </a:ext>
                </a:extLst>
              </a:tr>
              <a:tr h="346578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Summer Solstice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9.5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227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57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628416214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2430213" y="3413399"/>
            <a:ext cx="55585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atitude: 35 deg N, Altitude: 65,000 ft, Odysseus Baseli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D33877C-A53D-4387-9EDD-56CECF66B74C}"/>
              </a:ext>
            </a:extLst>
          </p:cNvPr>
          <p:cNvSpPr txBox="1"/>
          <p:nvPr/>
        </p:nvSpPr>
        <p:spPr>
          <a:xfrm>
            <a:off x="2329648" y="5629714"/>
            <a:ext cx="7532703" cy="461665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sz="2400" dirty="0"/>
              <a:t>50% more battery required to make it through winter night</a:t>
            </a:r>
          </a:p>
        </p:txBody>
      </p:sp>
    </p:spTree>
    <p:extLst>
      <p:ext uri="{BB962C8B-B14F-4D97-AF65-F5344CB8AC3E}">
        <p14:creationId xmlns:p14="http://schemas.microsoft.com/office/powerpoint/2010/main" val="143123873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F639803-B927-4472-8FDC-F57697BAC2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5769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7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F639803-B927-4472-8FDC-F57697BAC2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C921508-C9B8-4B89-AFC9-B101B90ACF3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9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F6B0-B41A-4C57-A4CE-EB0FFECC8C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Solar Airplane Optimization and Sizing Key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03E157-D765-4507-BBAE-6A300A5195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07706"/>
            <a:ext cx="10515600" cy="5169257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i="1" dirty="0"/>
              <a:t>Optimization Objective: </a:t>
            </a:r>
            <a:r>
              <a:rPr lang="en-US" dirty="0"/>
              <a:t>Minimize size &amp; cost of solar powered airplane for a given set of technology inputs; or determine technology required to achieve a given mission</a:t>
            </a:r>
          </a:p>
          <a:p>
            <a:pPr marL="0" indent="0">
              <a:buNone/>
            </a:pPr>
            <a:r>
              <a:rPr lang="en-US" i="1" dirty="0"/>
              <a:t>Key Sizing Drivers:</a:t>
            </a:r>
          </a:p>
          <a:p>
            <a:r>
              <a:rPr lang="en-US" dirty="0"/>
              <a:t>Mission definition: latitude, time-of-year, min flight speed</a:t>
            </a:r>
          </a:p>
          <a:p>
            <a:r>
              <a:rPr lang="en-US" dirty="0"/>
              <a:t>Key technology and its parameters: power collection system, energy storage system, fixed mass components (avionics)</a:t>
            </a:r>
          </a:p>
          <a:p>
            <a:r>
              <a:rPr lang="en-US" dirty="0"/>
              <a:t>Sizing scaling: nearly </a:t>
            </a:r>
            <a:r>
              <a:rPr lang="en-US" i="1" dirty="0"/>
              <a:t>everything </a:t>
            </a:r>
            <a:r>
              <a:rPr lang="en-US" dirty="0"/>
              <a:t>scales!</a:t>
            </a:r>
          </a:p>
          <a:p>
            <a:pPr lvl="1"/>
            <a:r>
              <a:rPr lang="en-US" dirty="0"/>
              <a:t>Energy storage system: scales with energy stored</a:t>
            </a:r>
          </a:p>
          <a:p>
            <a:pPr lvl="1"/>
            <a:r>
              <a:rPr lang="en-US" dirty="0"/>
              <a:t>Structural sizing: scales with loads, mass (&amp; its distribution), airspeed, aeroelastic effects</a:t>
            </a:r>
          </a:p>
          <a:p>
            <a:pPr lvl="1"/>
            <a:r>
              <a:rPr lang="en-US" dirty="0"/>
              <a:t>Power distribution and wiring: scale with power, length, efficiency</a:t>
            </a:r>
          </a:p>
          <a:p>
            <a:pPr lvl="1"/>
            <a:r>
              <a:rPr lang="en-US" dirty="0"/>
              <a:t>Electric motors: scale with torque, efficiency</a:t>
            </a:r>
          </a:p>
          <a:p>
            <a:pPr lvl="1"/>
            <a:r>
              <a:rPr lang="en-US" dirty="0"/>
              <a:t>Servo actuators: scale with control surface size, airspeed</a:t>
            </a:r>
          </a:p>
          <a:p>
            <a:pPr lvl="1"/>
            <a:r>
              <a:rPr lang="en-US" dirty="0"/>
              <a:t>Landing gear: scales with height, gross mass, speed</a:t>
            </a:r>
          </a:p>
          <a:p>
            <a:pPr lvl="1"/>
            <a:r>
              <a:rPr lang="en-US" dirty="0"/>
              <a:t>…</a:t>
            </a: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4EA3BE-0BB8-4DF2-A693-A9A4A1C3FE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7D424-15CC-4B26-AE54-D42E949B4036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188776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B2DED6D-7CAA-4ABC-8261-BB268A8626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041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1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B2DED6D-7CAA-4ABC-8261-BB268A8626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E7754B2-02A1-49CC-84E2-1BF4258C21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8A66A5-7649-408D-94DA-8FE98287A26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B03127-E65B-4453-84F1-B68E5695DA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7D424-15CC-4B26-AE54-D42E949B4036}" type="slidenum">
              <a:rPr lang="en-US" smtClean="0"/>
              <a:t>23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4B7437-EF4E-40C2-9E35-A415D5C47A8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9386"/>
            <a:ext cx="12192000" cy="6839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008999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8E4170F-9543-4FBC-9226-42AC47EDFE1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3897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5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8E4170F-9543-4FBC-9226-42AC47EDFE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65CF01D-219F-4DC1-BEE4-FB2D93376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17389D-33A5-4CBF-8486-F90FC03CD0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3F8599-D7C5-49E4-90BB-E3537382DA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7D424-15CC-4B26-AE54-D42E949B4036}" type="slidenum">
              <a:rPr lang="en-US" smtClean="0"/>
              <a:t>24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85DF427-4473-4394-B1FD-38BC85E009B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23091"/>
            <a:ext cx="12192000" cy="6811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025724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8CF189A-7CC4-4D60-BCAF-B3DD410F02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6799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9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8CF189A-7CC4-4D60-BCAF-B3DD410F02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89EECA0-4AFE-4FC7-A578-61E790B613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4A0C8B-2EB6-4CDD-BD27-1E47DE991E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DE90D3-8139-4D6C-9105-A332857B1C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7D424-15CC-4B26-AE54-D42E949B4036}" type="slidenum">
              <a:rPr lang="en-US" smtClean="0"/>
              <a:t>25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F1FFECE-D0CA-49F5-9951-DFC318F768F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90" y="0"/>
            <a:ext cx="1218602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446371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A13E254-E886-42B0-8F0E-E9BE7C697C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9996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3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A13E254-E886-42B0-8F0E-E9BE7C697C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F7F2BCF-F34A-4767-8C34-13D50AEA3D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Referen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ED949E-158F-479F-8D7A-0B494D74026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 fontAlgn="ctr">
              <a:buFont typeface="+mj-lt"/>
              <a:buAutoNum type="arabicPeriod"/>
            </a:pPr>
            <a:r>
              <a:rPr lang="en-US" dirty="0">
                <a:hlinkClick r:id="rId6"/>
              </a:rPr>
              <a:t>https://www.researchgate.net/publication/228843407_Fly_Around_the_World_with_a_Solar_Powered_Airplane</a:t>
            </a:r>
            <a:endParaRPr lang="en-US" dirty="0"/>
          </a:p>
          <a:p>
            <a:pPr marL="457200" indent="-457200" fontAlgn="ctr">
              <a:buFont typeface="+mj-lt"/>
              <a:buAutoNum type="arabicPeriod"/>
            </a:pPr>
            <a:r>
              <a:rPr lang="en-US" dirty="0">
                <a:hlinkClick r:id="rId7"/>
              </a:rPr>
              <a:t>https://www.researchgate.net/publication/336455359_Review_of_Power_Device_for_Solar-Powered_Aircraft_Applications</a:t>
            </a:r>
            <a:endParaRPr lang="en-US" dirty="0"/>
          </a:p>
          <a:p>
            <a:pPr marL="457200" indent="-457200" fontAlgn="ctr">
              <a:buFont typeface="+mj-lt"/>
              <a:buAutoNum type="arabicPeriod"/>
            </a:pPr>
            <a:r>
              <a:rPr lang="en-US" dirty="0">
                <a:hlinkClick r:id="rId8"/>
              </a:rPr>
              <a:t>https://engineering.fb.com/connectivity/open-sourcing-facebooks-solar-powered-aircraft-design-tools/</a:t>
            </a:r>
            <a:endParaRPr lang="en-US" dirty="0"/>
          </a:p>
          <a:p>
            <a:pPr marL="457200" indent="-457200" fontAlgn="ctr">
              <a:buFont typeface="+mj-lt"/>
              <a:buAutoNum type="arabicPeriod"/>
            </a:pPr>
            <a:r>
              <a:rPr lang="en-US" dirty="0">
                <a:hlinkClick r:id="rId9"/>
              </a:rPr>
              <a:t>https://research.fb.com/publications/hale-multidisciplinary-design-optimization-part-i-solar-powered-single-and-multiple-boom-aircraft/</a:t>
            </a:r>
            <a:endParaRPr lang="en-US" dirty="0"/>
          </a:p>
          <a:p>
            <a:pPr marL="457200" indent="-457200" fontAlgn="ctr">
              <a:buFont typeface="+mj-lt"/>
              <a:buAutoNum type="arabicPeriod"/>
            </a:pPr>
            <a:r>
              <a:rPr lang="en-US" dirty="0">
                <a:hlinkClick r:id="rId10"/>
              </a:rPr>
              <a:t>https://research.fb.com/publications/hale-multidisciplinary-design-optimization-part-ii-solar-powered-flying-wing-aircraft/</a:t>
            </a:r>
            <a:endParaRPr lang="en-US" dirty="0"/>
          </a:p>
          <a:p>
            <a:pPr marL="457200" indent="-457200" fontAlgn="ctr">
              <a:buFont typeface="+mj-lt"/>
              <a:buAutoNum type="arabicPeriod"/>
            </a:pPr>
            <a:r>
              <a:rPr lang="en-US" dirty="0">
                <a:hlinkClick r:id="rId11"/>
              </a:rPr>
              <a:t>https://arc.aiaa.org/doi/10.2514/1.C034405</a:t>
            </a:r>
            <a:endParaRPr lang="en-US" dirty="0"/>
          </a:p>
          <a:p>
            <a:pPr marL="457200" indent="-457200">
              <a:buFont typeface="+mj-lt"/>
              <a:buAutoNum type="arabicPeriod"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5B9FE0-8376-4D08-AB59-3B0EF0EB52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7D424-15CC-4B26-AE54-D42E949B4036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524687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FFDC22D-A828-EC42-B304-5E700D81DD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7929" b="15651"/>
          <a:stretch/>
        </p:blipFill>
        <p:spPr>
          <a:xfrm>
            <a:off x="0" y="-644746"/>
            <a:ext cx="12192000" cy="7502746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ED630BA3-2316-474C-AEF3-A1CD91993644}"/>
              </a:ext>
            </a:extLst>
          </p:cNvPr>
          <p:cNvSpPr txBox="1">
            <a:spLocks/>
          </p:cNvSpPr>
          <p:nvPr/>
        </p:nvSpPr>
        <p:spPr>
          <a:xfrm>
            <a:off x="609600" y="0"/>
            <a:ext cx="10972800" cy="1143000"/>
          </a:xfrm>
          <a:prstGeom prst="rect">
            <a:avLst/>
          </a:prstGeom>
        </p:spPr>
        <p:txBody>
          <a:bodyPr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Thank you!  </a:t>
            </a:r>
          </a:p>
          <a:p>
            <a:r>
              <a:rPr lang="en-US" dirty="0">
                <a:solidFill>
                  <a:schemeClr val="bg1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Questions?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9ED991D-B351-4284-AB53-26A1B2A37AD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8738" y="5986720"/>
            <a:ext cx="1871968" cy="699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5476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0C4DFD-AB37-4EFA-903C-DD0B6199784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04747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6" imgW="423" imgH="424" progId="TCLayout.ActiveDocument.1">
                  <p:embed/>
                </p:oleObj>
              </mc:Choice>
              <mc:Fallback>
                <p:oleObj name="think-cell Slide" r:id="rId6" imgW="423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0C4DFD-AB37-4EFA-903C-DD0B619978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98A369-377C-4C9E-8EEC-4F100CDE0C8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57150" y="1"/>
            <a:ext cx="12020550" cy="895417"/>
          </a:xfrm>
        </p:spPr>
        <p:txBody>
          <a:bodyPr/>
          <a:lstStyle/>
          <a:p>
            <a:r>
              <a:rPr lang="en-US" dirty="0"/>
              <a:t>Solar Airplane Energy Challenge: Closing The Energy Cyc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838200" y="944948"/>
            <a:ext cx="10515600" cy="5065645"/>
          </a:xfrm>
        </p:spPr>
        <p:txBody>
          <a:bodyPr>
            <a:normAutofit/>
          </a:bodyPr>
          <a:lstStyle/>
          <a:p>
            <a:pPr marL="0" indent="0" fontAlgn="ctr">
              <a:buNone/>
            </a:pPr>
            <a:r>
              <a:rPr lang="en-US" sz="3200" dirty="0"/>
              <a:t>		</a:t>
            </a:r>
            <a:r>
              <a:rPr lang="en-US" sz="3200" u="sng" dirty="0"/>
              <a:t>Energy In </a:t>
            </a:r>
          </a:p>
          <a:p>
            <a:pPr lvl="1" fontAlgn="ctr"/>
            <a:r>
              <a:rPr lang="en-US" sz="2400" dirty="0"/>
              <a:t>Solar flux in space</a:t>
            </a:r>
          </a:p>
          <a:p>
            <a:pPr lvl="1" fontAlgn="ctr"/>
            <a:r>
              <a:rPr lang="en-US" sz="2400" dirty="0"/>
              <a:t>Atmospheric absorption</a:t>
            </a:r>
          </a:p>
          <a:p>
            <a:pPr lvl="1" fontAlgn="ctr"/>
            <a:r>
              <a:rPr lang="en-US" sz="2400" dirty="0"/>
              <a:t>Shape / Collection factor</a:t>
            </a:r>
          </a:p>
          <a:p>
            <a:pPr lvl="1" fontAlgn="ctr"/>
            <a:r>
              <a:rPr lang="en-US" sz="2400" dirty="0"/>
              <a:t>Length of day vs DOY, latitude</a:t>
            </a:r>
          </a:p>
          <a:p>
            <a:pPr lvl="1" fontAlgn="ctr"/>
            <a:r>
              <a:rPr lang="en-US" sz="2400" dirty="0"/>
              <a:t>Solar panel efficiency</a:t>
            </a:r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F1BDDD9B-6EBE-41AE-9A92-D0DDED4CD476}"/>
              </a:ext>
            </a:extLst>
          </p:cNvPr>
          <p:cNvSpPr txBox="1">
            <a:spLocks/>
          </p:cNvSpPr>
          <p:nvPr/>
        </p:nvSpPr>
        <p:spPr>
          <a:xfrm>
            <a:off x="5600700" y="895418"/>
            <a:ext cx="6477000" cy="367506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 marL="342900" indent="-342900" algn="l" defTabSz="457200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Char char="•"/>
              <a:defRPr sz="28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ctr">
              <a:lnSpc>
                <a:spcPct val="100000"/>
              </a:lnSpc>
              <a:buNone/>
            </a:pPr>
            <a:r>
              <a:rPr lang="en-US" sz="3200" dirty="0"/>
              <a:t>≥			</a:t>
            </a:r>
            <a:r>
              <a:rPr lang="en-US" sz="3200" u="sng" dirty="0"/>
              <a:t>Energy Required</a:t>
            </a:r>
          </a:p>
          <a:p>
            <a:pPr lvl="1" fontAlgn="ctr">
              <a:lnSpc>
                <a:spcPct val="100000"/>
              </a:lnSpc>
              <a:spcBef>
                <a:spcPts val="0"/>
              </a:spcBef>
            </a:pPr>
            <a:r>
              <a:rPr lang="en-US" sz="2400" dirty="0"/>
              <a:t>Flight Energy = Power * Time = Thrust*Velocity * 24 hours</a:t>
            </a:r>
          </a:p>
          <a:p>
            <a:pPr lvl="1" fontAlgn="ctr">
              <a:lnSpc>
                <a:spcPct val="100000"/>
              </a:lnSpc>
              <a:spcBef>
                <a:spcPts val="0"/>
              </a:spcBef>
            </a:pPr>
            <a:r>
              <a:rPr lang="en-US" sz="2400" dirty="0"/>
              <a:t>Energy storage: needed to last though the night</a:t>
            </a:r>
          </a:p>
          <a:p>
            <a:pPr lvl="1" fontAlgn="ctr">
              <a:lnSpc>
                <a:spcPct val="100000"/>
              </a:lnSpc>
              <a:spcBef>
                <a:spcPts val="0"/>
              </a:spcBef>
            </a:pPr>
            <a:r>
              <a:rPr lang="en-US" sz="2400" dirty="0"/>
              <a:t>Flight Speed &gt; wind speed</a:t>
            </a:r>
          </a:p>
          <a:p>
            <a:pPr lvl="1" fontAlgn="ctr">
              <a:lnSpc>
                <a:spcPct val="100000"/>
              </a:lnSpc>
              <a:spcBef>
                <a:spcPts val="0"/>
              </a:spcBef>
            </a:pPr>
            <a:r>
              <a:rPr lang="en-US" sz="2400" dirty="0"/>
              <a:t>Thrust = Weight/(L/D)</a:t>
            </a:r>
          </a:p>
        </p:txBody>
      </p:sp>
      <p:pic>
        <p:nvPicPr>
          <p:cNvPr id="1028" name="Picture 4" descr="Related image">
            <a:extLst>
              <a:ext uri="{FF2B5EF4-FFF2-40B4-BE49-F238E27FC236}">
                <a16:creationId xmlns:a16="http://schemas.microsoft.com/office/drawing/2014/main" id="{1AD9679B-61F1-4003-8FF2-F40D6D0F69E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26" t="39250" r="18749" b="3846"/>
          <a:stretch/>
        </p:blipFill>
        <p:spPr bwMode="auto">
          <a:xfrm>
            <a:off x="838200" y="4178613"/>
            <a:ext cx="4762500" cy="24126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708B604-8B6B-49D1-9CF2-F60D1BA7E53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380981" y="4178613"/>
            <a:ext cx="4192538" cy="2412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7089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BA87C4F-0756-4790-9156-10710BE6918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9031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6" imgW="423" imgH="424" progId="TCLayout.ActiveDocument.1">
                  <p:embed/>
                </p:oleObj>
              </mc:Choice>
              <mc:Fallback>
                <p:oleObj name="think-cell Slide" r:id="rId6" imgW="423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BA87C4F-0756-4790-9156-10710BE691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D595B23-4F74-4B5C-A078-2905D907E1C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9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losing The Energy Cyc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599" y="1111318"/>
            <a:ext cx="4529560" cy="512208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Two Conditions must be met: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Energy In ≥ Energy Used over 24 hour cycle 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Battery Energy ≥ Energy Required for “Night”</a:t>
            </a:r>
          </a:p>
          <a:p>
            <a:r>
              <a:rPr lang="en-US" dirty="0"/>
              <a:t>Two primary solar power flows:</a:t>
            </a:r>
          </a:p>
          <a:p>
            <a:pPr lvl="1"/>
            <a:r>
              <a:rPr lang="en-US" sz="2600" dirty="0"/>
              <a:t>Daytime flight power</a:t>
            </a:r>
          </a:p>
          <a:p>
            <a:pPr lvl="1"/>
            <a:r>
              <a:rPr lang="en-US" sz="2600" dirty="0"/>
              <a:t>Energy storage for nighttime flight</a:t>
            </a:r>
          </a:p>
        </p:txBody>
      </p:sp>
      <p:pic>
        <p:nvPicPr>
          <p:cNvPr id="4" name="Picture 3"/>
          <p:cNvPicPr/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902805" y="1311305"/>
            <a:ext cx="7120128" cy="472211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153935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792BC1D-266E-46A8-AB89-64CDA6D25B5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3427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6" imgW="423" imgH="424" progId="TCLayout.ActiveDocument.1">
                  <p:embed/>
                </p:oleObj>
              </mc:Choice>
              <mc:Fallback>
                <p:oleObj name="think-cell Slide" r:id="rId6" imgW="423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792BC1D-266E-46A8-AB89-64CDA6D25B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0E7A370-E97B-4FC2-95F2-83D198E573B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9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Energy In: Solar Power Availabl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609600" y="865632"/>
                <a:ext cx="10972800" cy="5367774"/>
              </a:xfrm>
            </p:spPr>
            <p:txBody>
              <a:bodyPr/>
              <a:lstStyle/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i="1">
                          <a:latin typeface="Cambria Math" panose="02040503050406030204" pitchFamily="18" charset="0"/>
                        </a:rPr>
                        <m:t>𝐸𝑛𝑒𝑟𝑔𝑦</m:t>
                      </m:r>
                      <m:r>
                        <a:rPr lang="en-US" sz="3200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3200" i="1">
                          <a:latin typeface="Cambria Math" panose="02040503050406030204" pitchFamily="18" charset="0"/>
                        </a:rPr>
                        <m:t>𝐼𝑛</m:t>
                      </m:r>
                      <m:r>
                        <a:rPr lang="en-US" sz="3200" i="1">
                          <a:latin typeface="Cambria Math" panose="02040503050406030204" pitchFamily="18" charset="0"/>
                        </a:rPr>
                        <m:t>= </m:t>
                      </m:r>
                      <m:nary>
                        <m:naryPr>
                          <m:ctrlPr>
                            <a:rPr lang="en-US" sz="32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sz="3200" i="1">
                              <a:latin typeface="Cambria Math" panose="02040503050406030204" pitchFamily="18" charset="0"/>
                            </a:rPr>
                            <m:t>𝑆</m:t>
                          </m:r>
                          <m:r>
                            <a:rPr lang="en-US" sz="3200" i="1">
                              <a:latin typeface="Cambria Math" panose="02040503050406030204" pitchFamily="18" charset="0"/>
                            </a:rPr>
                            <m:t>𝑢𝑛𝑟𝑖𝑠𝑒</m:t>
                          </m:r>
                        </m:sub>
                        <m:sup>
                          <m:r>
                            <a:rPr lang="en-US" sz="3200" i="1">
                              <a:latin typeface="Cambria Math" panose="02040503050406030204" pitchFamily="18" charset="0"/>
                            </a:rPr>
                            <m:t>𝑆𝑢𝑛𝑠𝑒𝑡</m:t>
                          </m:r>
                        </m:sup>
                        <m:e>
                          <m:sSub>
                            <m:sSubPr>
                              <m:ctrlPr>
                                <a:rPr lang="en-US" sz="32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3200" i="1">
                                  <a:latin typeface="Cambria Math" panose="02040503050406030204" pitchFamily="18" charset="0"/>
                                </a:rPr>
                                <m:t>𝑃𝑜𝑤𝑒𝑟</m:t>
                              </m:r>
                            </m:e>
                            <m:sub>
                              <m:r>
                                <a:rPr lang="en-US" sz="3200" i="1">
                                  <a:latin typeface="Cambria Math" panose="02040503050406030204" pitchFamily="18" charset="0"/>
                                </a:rPr>
                                <m:t>𝑆𝑜𝑙𝑎𝑟</m:t>
                              </m:r>
                            </m:sub>
                          </m:sSub>
                          <m:r>
                            <a:rPr lang="en-US" sz="3200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sz="3200" i="1">
                              <a:latin typeface="Cambria Math" panose="02040503050406030204" pitchFamily="18" charset="0"/>
                            </a:rPr>
                            <m:t>𝑑𝑡</m:t>
                          </m:r>
                        </m:e>
                      </m:nary>
                    </m:oMath>
                  </m:oMathPara>
                </a14:m>
                <a:endParaRPr lang="en-US" dirty="0"/>
              </a:p>
              <a:p>
                <a:r>
                  <a:rPr lang="en-US" dirty="0"/>
                  <a:t>Usable Power = Flux in Space *Area of Solar Array * (</a:t>
                </a:r>
                <a:r>
                  <a:rPr lang="el-GR" dirty="0"/>
                  <a:t>η</a:t>
                </a:r>
                <a:r>
                  <a:rPr lang="en-US" baseline="-25000" dirty="0"/>
                  <a:t>Atmosphere</a:t>
                </a:r>
                <a:r>
                  <a:rPr lang="en-US" dirty="0"/>
                  <a:t>*</a:t>
                </a:r>
                <a:r>
                  <a:rPr lang="el-GR" dirty="0"/>
                  <a:t>η</a:t>
                </a:r>
                <a:r>
                  <a:rPr lang="en-US" baseline="-25000" dirty="0" err="1"/>
                  <a:t>CollectionFactor</a:t>
                </a:r>
                <a:r>
                  <a:rPr lang="en-US" dirty="0"/>
                  <a:t>*</a:t>
                </a:r>
                <a:r>
                  <a:rPr lang="el-GR" dirty="0"/>
                  <a:t>η</a:t>
                </a:r>
                <a:r>
                  <a:rPr lang="en-US" baseline="-25000" dirty="0"/>
                  <a:t>Conversion</a:t>
                </a:r>
                <a:r>
                  <a:rPr lang="en-US" dirty="0"/>
                  <a:t>) 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609600" y="865632"/>
                <a:ext cx="10972800" cy="5367774"/>
              </a:xfrm>
              <a:blipFill>
                <a:blip r:embed="rId8"/>
                <a:stretch>
                  <a:fillRect l="-1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" name="Picture 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32172" y="3201869"/>
            <a:ext cx="5526890" cy="3370951"/>
          </a:xfrm>
          <a:prstGeom prst="rect">
            <a:avLst/>
          </a:prstGeom>
        </p:spPr>
      </p:pic>
      <p:sp>
        <p:nvSpPr>
          <p:cNvPr id="7" name="Content Placeholder 2"/>
          <p:cNvSpPr txBox="1">
            <a:spLocks/>
          </p:cNvSpPr>
          <p:nvPr/>
        </p:nvSpPr>
        <p:spPr>
          <a:xfrm>
            <a:off x="977430" y="3946966"/>
            <a:ext cx="3486912" cy="208720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 marL="342900" indent="-342900" algn="l" defTabSz="457200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Char char="•"/>
              <a:defRPr sz="28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olar flux in space ~ 1367 W/m</a:t>
            </a:r>
            <a:r>
              <a:rPr lang="en-US" baseline="30000" dirty="0"/>
              <a:t>2 (standard nominal value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4ABF6745-B779-4E11-A818-CB8113E07FED}"/>
                  </a:ext>
                </a:extLst>
              </p:cNvPr>
              <p:cNvSpPr txBox="1"/>
              <p:nvPr/>
            </p:nvSpPr>
            <p:spPr>
              <a:xfrm>
                <a:off x="2099040" y="7099038"/>
                <a:ext cx="7993919" cy="49244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32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3200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en-US" sz="3200" b="0" i="1" smtClean="0"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</m:sSub>
                      <m:r>
                        <a:rPr lang="en-US" sz="3200" b="0" i="1" smtClean="0">
                          <a:latin typeface="Cambria Math" panose="02040503050406030204" pitchFamily="18" charset="0"/>
                        </a:rPr>
                        <m:t>= </m:t>
                      </m:r>
                      <m:sSub>
                        <m:sSubPr>
                          <m:ctrlPr>
                            <a:rPr lang="el-GR" sz="3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l-GR" sz="3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Φ</m:t>
                          </m:r>
                        </m:e>
                        <m:sub>
                          <m:r>
                            <a:rPr lang="en-US" sz="3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𝐿𝑜𝑐𝑎𝑙</m:t>
                          </m:r>
                        </m:sub>
                      </m:sSub>
                      <m:r>
                        <a:rPr lang="en-US" sz="3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∗</m:t>
                      </m:r>
                      <m:func>
                        <m:funcPr>
                          <m:ctrlPr>
                            <a:rPr lang="en-US" sz="3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US" sz="3200" b="0" i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cos</m:t>
                          </m:r>
                        </m:fName>
                        <m:e>
                          <m:d>
                            <m:dPr>
                              <m:ctrlPr>
                                <a:rPr lang="en-US" sz="32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l-GR" sz="320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𝜃</m:t>
                              </m:r>
                            </m:e>
                          </m:d>
                        </m:e>
                      </m:func>
                      <m:r>
                        <a:rPr lang="en-US" sz="3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∗ </m:t>
                      </m:r>
                      <m:sSub>
                        <m:sSubPr>
                          <m:ctrlPr>
                            <a:rPr lang="en-US" sz="3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3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𝜂</m:t>
                          </m:r>
                        </m:e>
                        <m:sub>
                          <m:r>
                            <a:rPr lang="en-US" sz="3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𝑐𝑎𝑡𝑡𝑒𝑟</m:t>
                          </m:r>
                        </m:sub>
                      </m:sSub>
                      <m:r>
                        <a:rPr lang="en-US" sz="3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∗</m:t>
                      </m:r>
                      <m:sSub>
                        <m:sSubPr>
                          <m:ctrlPr>
                            <a:rPr lang="en-US" sz="3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3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𝜂</m:t>
                          </m:r>
                        </m:e>
                        <m:sub>
                          <m:r>
                            <a:rPr lang="en-US" sz="3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𝑜𝑙𝑎𝑟</m:t>
                          </m:r>
                          <m:r>
                            <a:rPr lang="en-US" sz="3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 </m:t>
                          </m:r>
                          <m:r>
                            <a:rPr lang="en-US" sz="3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𝑛𝑒𝑡</m:t>
                          </m:r>
                        </m:sub>
                      </m:sSub>
                      <m:r>
                        <a:rPr lang="en-US" sz="3200" b="0" i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sz="3200" dirty="0"/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4ABF6745-B779-4E11-A818-CB8113E07FE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99040" y="7099038"/>
                <a:ext cx="7993919" cy="492443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5096168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F8A5AD3-EB78-4E0B-AF5E-AC5196CECAF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1592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F8A5AD3-EB78-4E0B-AF5E-AC5196CECA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C40D7F0-17A9-4738-8F60-A61D7121FC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9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3A2D6E3-8329-4680-838E-34E6CD73CBE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73215" y="92075"/>
            <a:ext cx="5324475" cy="34671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78771E7-E9EC-4EEF-81F3-C2D1BD602F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Energy In: Latitude &amp; Length of Da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B5BA09-A4CB-4FD3-9D72-ABE9410496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511" y="928837"/>
            <a:ext cx="5806490" cy="5248126"/>
          </a:xfrm>
        </p:spPr>
        <p:txBody>
          <a:bodyPr/>
          <a:lstStyle/>
          <a:p>
            <a:r>
              <a:rPr lang="en-US" dirty="0"/>
              <a:t>Hours of sunlight function of day of year, latitude, altitude</a:t>
            </a:r>
          </a:p>
          <a:p>
            <a:r>
              <a:rPr lang="en-US" dirty="0"/>
              <a:t>Hours of Darkness drives how much battery is required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CCD0E1-6004-4A75-A317-1C8D1163E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7D424-15CC-4B26-AE54-D42E949B4036}" type="slidenum">
              <a:rPr lang="en-US" smtClean="0"/>
              <a:t>6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72D71A4-1452-421F-AC7E-499775201AF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73215" y="3721391"/>
            <a:ext cx="5629275" cy="238125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137506C-3C1F-43DA-A7ED-509D3313BED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89510" y="2461839"/>
            <a:ext cx="6145875" cy="4155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22764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FD932F9-F687-4154-A2F1-320A9DF37E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386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Slide" r:id="rId6" imgW="423" imgH="424" progId="TCLayout.ActiveDocument.1">
                  <p:embed/>
                </p:oleObj>
              </mc:Choice>
              <mc:Fallback>
                <p:oleObj name="think-cell Slide" r:id="rId6" imgW="423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FD932F9-F687-4154-A2F1-320A9DF37E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257AFF4-BF26-4361-A6E7-750249ABB03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9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Energy In: Solar Power Available- Atmospheric Absorp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111318"/>
            <a:ext cx="5073570" cy="5122088"/>
          </a:xfrm>
        </p:spPr>
        <p:txBody>
          <a:bodyPr>
            <a:normAutofit fontScale="92500"/>
          </a:bodyPr>
          <a:lstStyle/>
          <a:p>
            <a:r>
              <a:rPr lang="en-US" dirty="0"/>
              <a:t>Solar flux absorbed by atmosphere</a:t>
            </a:r>
          </a:p>
          <a:p>
            <a:r>
              <a:rPr lang="en-US" dirty="0"/>
              <a:t>Absorption depends on mass and composition of air through which sunlight travels </a:t>
            </a:r>
          </a:p>
          <a:p>
            <a:pPr lvl="1"/>
            <a:r>
              <a:rPr lang="en-US" dirty="0"/>
              <a:t>Common reference conditions referred to as </a:t>
            </a:r>
            <a:r>
              <a:rPr lang="en-US" i="1" dirty="0"/>
              <a:t>AM1.5</a:t>
            </a:r>
            <a:r>
              <a:rPr lang="en-US" dirty="0"/>
              <a:t> (sea level standard) and </a:t>
            </a:r>
            <a:r>
              <a:rPr lang="en-US" i="1" dirty="0"/>
              <a:t>AM0</a:t>
            </a:r>
            <a:r>
              <a:rPr lang="en-US" dirty="0"/>
              <a:t> (space)</a:t>
            </a:r>
          </a:p>
          <a:p>
            <a:pPr lvl="1"/>
            <a:r>
              <a:rPr lang="en-US" dirty="0"/>
              <a:t>Flux available f(altitude, solar angle)</a:t>
            </a:r>
          </a:p>
          <a:p>
            <a:r>
              <a:rPr lang="en-US" dirty="0"/>
              <a:t>Spectral content also changes as light is filtered through atmosphere – impacts solar cell efficiency</a:t>
            </a:r>
          </a:p>
          <a:p>
            <a:pPr lvl="1"/>
            <a:r>
              <a:rPr lang="en-US" dirty="0"/>
              <a:t>Solar cell efficiency typically reported for AM1.5 conditions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3074" name="Picture 2" descr="Solar irradiance spectrum above atmosphere and at surface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2412" y="1960339"/>
            <a:ext cx="5396628" cy="4013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67953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E3B1A6D4-BCDE-482D-BEBB-B1485833E4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9488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5" imgW="423" imgH="424" progId="TCLayout.ActiveDocument.1">
                  <p:embed/>
                </p:oleObj>
              </mc:Choice>
              <mc:Fallback>
                <p:oleObj name="think-cell Slide" r:id="rId5" imgW="423" imgH="42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E3B1A6D4-BCDE-482D-BEBB-B1485833E4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DECDF20-5628-4F92-BC92-FFC87E2169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9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Energy In: Solar-Electric Conversion Efficienc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5211" y="944235"/>
            <a:ext cx="5378869" cy="1928250"/>
          </a:xfrm>
        </p:spPr>
        <p:txBody>
          <a:bodyPr>
            <a:normAutofit lnSpcReduction="10000"/>
          </a:bodyPr>
          <a:lstStyle/>
          <a:p>
            <a:pPr>
              <a:lnSpc>
                <a:spcPct val="100000"/>
              </a:lnSpc>
            </a:pPr>
            <a:r>
              <a:rPr lang="en-US" dirty="0"/>
              <a:t>Solar cell spectral efficiency determined by junction materials, packaging, number of junctions</a:t>
            </a:r>
          </a:p>
          <a:p>
            <a:pPr lvl="1">
              <a:lnSpc>
                <a:spcPct val="100000"/>
              </a:lnSpc>
            </a:pPr>
            <a:r>
              <a:rPr lang="en-US" dirty="0"/>
              <a:t>Single junction installed </a:t>
            </a:r>
            <a:r>
              <a:rPr lang="el-GR" dirty="0"/>
              <a:t>η</a:t>
            </a:r>
            <a:r>
              <a:rPr lang="en-US" baseline="-25000" dirty="0"/>
              <a:t>max</a:t>
            </a:r>
            <a:r>
              <a:rPr lang="en-US" dirty="0"/>
              <a:t>≈24% for GaAs or Si</a:t>
            </a:r>
          </a:p>
        </p:txBody>
      </p:sp>
      <p:pic>
        <p:nvPicPr>
          <p:cNvPr id="6150" name="Picture 6" descr="https://upload.wikimedia.org/wikipedia/commons/thumb/4/4c/ShockleyQueisserFullCurve.svg/969px-ShockleyQueisserFullCurve.svg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553" y="3248978"/>
            <a:ext cx="3834574" cy="2849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505713" y="5974380"/>
            <a:ext cx="46451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aximum efficiency of single junction cell limited to ~34% (the </a:t>
            </a:r>
            <a:r>
              <a:rPr lang="en-US" dirty="0">
                <a:hlinkClick r:id="rId8" tooltip="Shockley-Queisser limit"/>
              </a:rPr>
              <a:t>Shockley-</a:t>
            </a:r>
            <a:r>
              <a:rPr lang="en-US" dirty="0" err="1">
                <a:hlinkClick r:id="rId8" tooltip="Shockley-Queisser limit"/>
              </a:rPr>
              <a:t>Queisser</a:t>
            </a:r>
            <a:r>
              <a:rPr lang="en-US" dirty="0">
                <a:hlinkClick r:id="rId8" tooltip="Shockley-Queisser limit"/>
              </a:rPr>
              <a:t> limit</a:t>
            </a:r>
            <a:r>
              <a:rPr lang="en-US" dirty="0"/>
              <a:t>)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628639" y="3777268"/>
            <a:ext cx="46451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ultiple junction cells use larger bandwidth of available solar flux to achieve higher efficiency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5449042" y="4753878"/>
            <a:ext cx="5426697" cy="1713652"/>
            <a:chOff x="3913139" y="2874328"/>
            <a:chExt cx="5426697" cy="1713652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913139" y="2874328"/>
              <a:ext cx="2667000" cy="1371600"/>
            </a:xfrm>
            <a:prstGeom prst="rect">
              <a:avLst/>
            </a:prstGeom>
          </p:spPr>
        </p:pic>
        <p:sp>
          <p:nvSpPr>
            <p:cNvPr id="15" name="TextBox 14"/>
            <p:cNvSpPr txBox="1"/>
            <p:nvPr/>
          </p:nvSpPr>
          <p:spPr>
            <a:xfrm>
              <a:off x="4486250" y="4181217"/>
              <a:ext cx="145943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lta GaAs cell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0A0734F4-E754-461C-B3AC-9BFAB4E79890}"/>
                </a:ext>
              </a:extLst>
            </p:cNvPr>
            <p:cNvSpPr txBox="1"/>
            <p:nvPr/>
          </p:nvSpPr>
          <p:spPr>
            <a:xfrm>
              <a:off x="7538253" y="4218648"/>
              <a:ext cx="180158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err="1"/>
                <a:t>Spectrolab</a:t>
              </a:r>
              <a:r>
                <a:rPr lang="en-US" dirty="0"/>
                <a:t> 3J cell</a:t>
              </a:r>
            </a:p>
          </p:txBody>
        </p:sp>
      </p:grpSp>
      <p:pic>
        <p:nvPicPr>
          <p:cNvPr id="6158" name="Picture 14" descr="Image result for solar cell GaAs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9850" y="1398804"/>
            <a:ext cx="5162550" cy="2162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28277C3-527A-4AE3-846E-6AAA4338A3F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689153" y="4478566"/>
            <a:ext cx="2229444" cy="1646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48861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4169371-4153-4DAE-8760-CD990D3983F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6643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Slide" r:id="rId4" imgW="423" imgH="424" progId="TCLayout.ActiveDocument.1">
                  <p:embed/>
                </p:oleObj>
              </mc:Choice>
              <mc:Fallback>
                <p:oleObj name="think-cell Slide" r:id="rId4" imgW="423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4169371-4153-4DAE-8760-CD990D3983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E64A9215-97F2-4EF3-B3C8-54DA15B28B3E}"/>
              </a:ext>
            </a:extLst>
          </p:cNvPr>
          <p:cNvSpPr/>
          <p:nvPr/>
        </p:nvSpPr>
        <p:spPr>
          <a:xfrm>
            <a:off x="9639300" y="2971800"/>
            <a:ext cx="508000" cy="520700"/>
          </a:xfrm>
          <a:prstGeom prst="ellipse">
            <a:avLst/>
          </a:prstGeom>
          <a:noFill/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3936370-888A-4BAD-A6C4-D0FAD86DF793}"/>
              </a:ext>
            </a:extLst>
          </p:cNvPr>
          <p:cNvSpPr txBox="1"/>
          <p:nvPr/>
        </p:nvSpPr>
        <p:spPr>
          <a:xfrm>
            <a:off x="4851400" y="1487561"/>
            <a:ext cx="19655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What we are using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840B8F55-D966-4153-99C2-B8F98F7A1871}"/>
              </a:ext>
            </a:extLst>
          </p:cNvPr>
          <p:cNvCxnSpPr>
            <a:endCxn id="4" idx="1"/>
          </p:cNvCxnSpPr>
          <p:nvPr/>
        </p:nvCxnSpPr>
        <p:spPr>
          <a:xfrm>
            <a:off x="6832600" y="1689100"/>
            <a:ext cx="2881095" cy="135895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16E7208-4763-426D-B541-36493BC20D2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221369"/>
            <a:ext cx="12192000" cy="6415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32149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UBNhGmlpClGKZsP1ZCO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5vEn7ukF.WNxtBYK_ON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9XRe3elYc_U7gfZ2PP8U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3kafcSdChXaOvd2PLaWm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QC6smbKx88qWKzHl4wn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1h1PlNcp22EhzvsYuAD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2QqMXFWjBH.GQMbg9y_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ZUSS9mpdKTd8874kOW1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nHgJYFZ_HHnNvq23Zew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rg85bQ33S2vpCuzL4yR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FEx.1PYUTpK1skFGOso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xmmYQ4k1heqfaBRquD1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EuVQ6CnB.ur54zrfok7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k3nUjWP9TXuTcPO.7hG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I.hvCEdo0sLRlQCMjMj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M2kni6PiEzQcddsrmO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u8wtPqdQiNyj5R9mfZ9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LRdmZBrp45eg4teQ._1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ODLp7.x92_Wcs3QLF5S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1nX4St.XIuJ1t3yYTyc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gp5m93gKumB8fUU6Fg3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lT9JhCmJd7rWYAcvUcL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wT_lM9u0eM1xG205LNn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urora Theme Aug 2019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urora Theme Aug 2019" id="{0C1626D0-F672-45AD-AADC-0ABB77052A03}" vid="{1A6993FA-87C1-40E2-BDD3-46BD30553C6B}"/>
    </a:ext>
  </a:extLst>
</a:theme>
</file>

<file path=ppt/theme/theme2.xml><?xml version="1.0" encoding="utf-8"?>
<a:theme xmlns:a="http://schemas.openxmlformats.org/drawingml/2006/main" name="Aurora Logo Slid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olar airplane primer MIT FEB 2020</Template>
  <TotalTime>1272</TotalTime>
  <Words>1572</Words>
  <Application>Microsoft Macintosh PowerPoint</Application>
  <PresentationFormat>Widescreen</PresentationFormat>
  <Paragraphs>212</Paragraphs>
  <Slides>27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7</vt:i4>
      </vt:variant>
    </vt:vector>
  </HeadingPairs>
  <TitlesOfParts>
    <vt:vector size="37" baseType="lpstr">
      <vt:lpstr>Malgun Gothic</vt:lpstr>
      <vt:lpstr>Arial</vt:lpstr>
      <vt:lpstr>Calibri</vt:lpstr>
      <vt:lpstr>Cambria Math</vt:lpstr>
      <vt:lpstr>Times New Roman</vt:lpstr>
      <vt:lpstr>Wingdings</vt:lpstr>
      <vt:lpstr>Aurora Theme Aug 2019</vt:lpstr>
      <vt:lpstr>Aurora Logo Slide</vt:lpstr>
      <vt:lpstr>think-cell Slide</vt:lpstr>
      <vt:lpstr>Visio</vt:lpstr>
      <vt:lpstr>Persistent Solar Powered Airplanes: Closing the Energy Cycle</vt:lpstr>
      <vt:lpstr>Kevin R. Uleck, PhD Program Manager, Odysseus Solar UAV,  Aurora Flight Sciences</vt:lpstr>
      <vt:lpstr>Solar Airplane Energy Challenge: Closing The Energy Cycle</vt:lpstr>
      <vt:lpstr>Closing The Energy Cycle</vt:lpstr>
      <vt:lpstr>Energy In: Solar Power Available</vt:lpstr>
      <vt:lpstr>Energy In: Latitude &amp; Length of Day</vt:lpstr>
      <vt:lpstr>Energy In: Solar Power Available- Atmospheric Absorption</vt:lpstr>
      <vt:lpstr>Energy In: Solar-Electric Conversion Efficiency</vt:lpstr>
      <vt:lpstr>PowerPoint Presentation</vt:lpstr>
      <vt:lpstr>From cell efficiency to useable power</vt:lpstr>
      <vt:lpstr>Energy In: Solar Panel Area</vt:lpstr>
      <vt:lpstr>Energy In: Incident Flux Collection Factor</vt:lpstr>
      <vt:lpstr>Energy In: Collection Factor (2)</vt:lpstr>
      <vt:lpstr>Energy In: Solar Cell Power Point Tracking</vt:lpstr>
      <vt:lpstr>Energy Required: Daily Energy Breakdown</vt:lpstr>
      <vt:lpstr>Propulsion Power Required = Thrust X Airspeed</vt:lpstr>
      <vt:lpstr>How slow can we fly? Must stay on station against winds!</vt:lpstr>
      <vt:lpstr>Energy Required: Night and Day</vt:lpstr>
      <vt:lpstr>Mass</vt:lpstr>
      <vt:lpstr>Energy Balance- Example</vt:lpstr>
      <vt:lpstr>Energy Cycle: Putting it together</vt:lpstr>
      <vt:lpstr>Solar Airplane Optimization and Sizing Keys</vt:lpstr>
      <vt:lpstr>PowerPoint Presentation</vt:lpstr>
      <vt:lpstr>PowerPoint Presentation</vt:lpstr>
      <vt:lpstr>PowerPoint Presentation</vt:lpstr>
      <vt:lpstr>Reference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rsistent Solar Powered Airplanes: Closing the Energy Cycle</dc:title>
  <dc:creator>Uleck (US), Kevin</dc:creator>
  <cp:lastModifiedBy>R. John Hansman</cp:lastModifiedBy>
  <cp:revision>2</cp:revision>
  <cp:lastPrinted>2020-02-11T02:03:21Z</cp:lastPrinted>
  <dcterms:created xsi:type="dcterms:W3CDTF">2020-02-07T01:27:35Z</dcterms:created>
  <dcterms:modified xsi:type="dcterms:W3CDTF">2020-02-11T18:59:46Z</dcterms:modified>
</cp:coreProperties>
</file>